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677" r:id="rId5"/>
    <p:sldMasterId id="2147483690" r:id="rId6"/>
    <p:sldMasterId id="2147483700" r:id="rId7"/>
    <p:sldMasterId id="2147483710" r:id="rId8"/>
  </p:sldMasterIdLst>
  <p:notesMasterIdLst>
    <p:notesMasterId r:id="rId15"/>
  </p:notesMasterIdLst>
  <p:sldIdLst>
    <p:sldId id="315" r:id="rId9"/>
    <p:sldId id="383" r:id="rId10"/>
    <p:sldId id="450" r:id="rId11"/>
    <p:sldId id="452" r:id="rId12"/>
    <p:sldId id="451" r:id="rId13"/>
    <p:sldId id="453" r:id="rId14"/>
  </p:sldIdLst>
  <p:sldSz cx="9144000" cy="5143500" type="screen16x9"/>
  <p:notesSz cx="6797675" cy="9872663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rzu" initials="a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0099FF"/>
    <a:srgbClr val="0000FF"/>
    <a:srgbClr val="FF5050"/>
    <a:srgbClr val="FF6600"/>
    <a:srgbClr val="FFCC66"/>
    <a:srgbClr val="FFCC99"/>
    <a:srgbClr val="0099CC"/>
    <a:srgbClr val="33CCCC"/>
    <a:srgbClr val="7D75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726" autoAdjust="0"/>
    <p:restoredTop sz="99759" autoAdjust="0"/>
  </p:normalViewPr>
  <p:slideViewPr>
    <p:cSldViewPr>
      <p:cViewPr varScale="1">
        <p:scale>
          <a:sx n="156" d="100"/>
          <a:sy n="156" d="100"/>
        </p:scale>
        <p:origin x="-324" y="-8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634"/>
          </a:xfrm>
          <a:prstGeom prst="rect">
            <a:avLst/>
          </a:prstGeom>
        </p:spPr>
        <p:txBody>
          <a:bodyPr vert="horz" lIns="91438" tIns="45720" rIns="91438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634"/>
          </a:xfrm>
          <a:prstGeom prst="rect">
            <a:avLst/>
          </a:prstGeom>
        </p:spPr>
        <p:txBody>
          <a:bodyPr vert="horz" lIns="91438" tIns="45720" rIns="91438" bIns="45720" rtlCol="0"/>
          <a:lstStyle>
            <a:lvl1pPr algn="r">
              <a:defRPr sz="1200"/>
            </a:lvl1pPr>
          </a:lstStyle>
          <a:p>
            <a:fld id="{2B3356EA-4036-4874-8D8E-3278022F3C0D}" type="datetimeFigureOut">
              <a:rPr lang="nl-NL" smtClean="0"/>
              <a:t>30-6-2017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8" tIns="45720" rIns="91438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768" y="4689516"/>
            <a:ext cx="5438140" cy="4442699"/>
          </a:xfrm>
          <a:prstGeom prst="rect">
            <a:avLst/>
          </a:prstGeom>
        </p:spPr>
        <p:txBody>
          <a:bodyPr vert="horz" lIns="91438" tIns="45720" rIns="91438" bIns="45720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1" y="9377316"/>
            <a:ext cx="2945659" cy="493634"/>
          </a:xfrm>
          <a:prstGeom prst="rect">
            <a:avLst/>
          </a:prstGeom>
        </p:spPr>
        <p:txBody>
          <a:bodyPr vert="horz" lIns="91438" tIns="45720" rIns="91438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0444" y="9377316"/>
            <a:ext cx="2945659" cy="493634"/>
          </a:xfrm>
          <a:prstGeom prst="rect">
            <a:avLst/>
          </a:prstGeom>
        </p:spPr>
        <p:txBody>
          <a:bodyPr vert="horz" lIns="91438" tIns="45720" rIns="91438" bIns="45720" rtlCol="0" anchor="b"/>
          <a:lstStyle>
            <a:lvl1pPr algn="r">
              <a:defRPr sz="1200"/>
            </a:lvl1pPr>
          </a:lstStyle>
          <a:p>
            <a:fld id="{F6131815-A913-411D-B84C-BED81DBD054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38067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8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15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16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Relationship Id="rId9" Type="http://schemas.openxmlformats.org/officeDocument/2006/relationships/image" Target="../media/image20.pn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Relationship Id="rId9" Type="http://schemas.openxmlformats.org/officeDocument/2006/relationships/image" Target="../media/image21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Relationship Id="rId9" Type="http://schemas.openxmlformats.org/officeDocument/2006/relationships/image" Target="../media/image22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4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Relationship Id="rId9" Type="http://schemas.openxmlformats.org/officeDocument/2006/relationships/image" Target="../media/image25.pn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4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Relationship Id="rId9" Type="http://schemas.openxmlformats.org/officeDocument/2006/relationships/image" Target="../media/image26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4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Relationship Id="rId9" Type="http://schemas.openxmlformats.org/officeDocument/2006/relationships/image" Target="../media/image27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8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8674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8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F663494B-11AD-4044-84CF-2D439E662FE7}" type="datetimeFigureOut">
              <a:rPr lang="nl-NL" smtClean="0"/>
              <a:t>30-6-2017</a:t>
            </a:fld>
            <a:endParaRPr lang="nl-NL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BE9DF14E-77A6-43E1-AD9E-FE49AFFAAFCE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34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Rectangle à coins arrondis 13"/>
          <p:cNvSpPr/>
          <p:nvPr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à coins arrondis 14"/>
          <p:cNvSpPr/>
          <p:nvPr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space réservé du texte 56"/>
          <p:cNvSpPr>
            <a:spLocks noGrp="1"/>
          </p:cNvSpPr>
          <p:nvPr>
            <p:ph type="body" sz="quarter" idx="37" hasCustomPrompt="1"/>
          </p:nvPr>
        </p:nvSpPr>
        <p:spPr>
          <a:xfrm>
            <a:off x="6725636" y="4808"/>
            <a:ext cx="2314482" cy="1157241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8" name="Espace réservé du texte 54"/>
          <p:cNvSpPr>
            <a:spLocks noGrp="1"/>
          </p:cNvSpPr>
          <p:nvPr>
            <p:ph type="body" sz="quarter" idx="18" hasCustomPrompt="1"/>
          </p:nvPr>
        </p:nvSpPr>
        <p:spPr>
          <a:xfrm>
            <a:off x="650240" y="0"/>
            <a:ext cx="8491478" cy="5143500"/>
          </a:xfrm>
          <a:noFill/>
        </p:spPr>
        <p:txBody>
          <a:bodyPr lIns="72000" tIns="1584000" rIns="651600" bIns="126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le</a:t>
            </a:r>
          </a:p>
          <a:p>
            <a:pPr lvl="1"/>
            <a:r>
              <a:rPr lang="fr-FR" dirty="0" smtClean="0"/>
              <a:t>Date</a:t>
            </a:r>
          </a:p>
        </p:txBody>
      </p:sp>
      <p:sp>
        <p:nvSpPr>
          <p:cNvPr id="19" name="Rectangle à coins arrondis 12"/>
          <p:cNvSpPr/>
          <p:nvPr/>
        </p:nvSpPr>
        <p:spPr>
          <a:xfrm>
            <a:off x="7803355" y="1440487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à coins arrondis 13"/>
          <p:cNvSpPr/>
          <p:nvPr/>
        </p:nvSpPr>
        <p:spPr>
          <a:xfrm>
            <a:off x="7803355" y="3606884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61923826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3494B-11AD-4044-84CF-2D439E662FE7}" type="datetimeFigureOut">
              <a:rPr lang="nl-NL" smtClean="0"/>
              <a:t>30-6-2017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DF14E-77A6-43E1-AD9E-FE49AFFAAFC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456091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3851" y="1356125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834" y="3787379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1" hasCustomPrompt="1"/>
          </p:nvPr>
        </p:nvSpPr>
        <p:spPr>
          <a:xfrm>
            <a:off x="3276017" y="1356122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3330000" y="3787378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6217110" y="1356122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6271093" y="3787378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rgbClr val="96BE0F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rgbClr val="96BE0F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344140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276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0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3175" y="0"/>
            <a:ext cx="9140825" cy="51435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>
          <a:xfrm>
            <a:off x="661988" y="0"/>
            <a:ext cx="8479730" cy="5143500"/>
          </a:xfrm>
          <a:noFill/>
        </p:spPr>
        <p:txBody>
          <a:bodyPr lIns="72000" tIns="1584000" rIns="651600" bIns="126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le</a:t>
            </a:r>
          </a:p>
          <a:p>
            <a:pPr lvl="1"/>
            <a:r>
              <a:rPr lang="fr-FR" dirty="0" smtClean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4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5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6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Rectangle à coins arrondis 12"/>
          <p:cNvSpPr/>
          <p:nvPr userDrawn="1"/>
        </p:nvSpPr>
        <p:spPr>
          <a:xfrm>
            <a:off x="7803355" y="1440487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à coins arrondis 13"/>
          <p:cNvSpPr/>
          <p:nvPr userDrawn="1"/>
        </p:nvSpPr>
        <p:spPr>
          <a:xfrm>
            <a:off x="7803355" y="3606884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56"/>
          <p:cNvSpPr>
            <a:spLocks noGrp="1"/>
          </p:cNvSpPr>
          <p:nvPr>
            <p:ph type="body" sz="quarter" idx="27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4808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275903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13122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4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3175" y="0"/>
            <a:ext cx="9140825" cy="51435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>
          <a:xfrm>
            <a:off x="661988" y="0"/>
            <a:ext cx="8479730" cy="5143500"/>
          </a:xfrm>
          <a:noFill/>
        </p:spPr>
        <p:txBody>
          <a:bodyPr lIns="72000" tIns="1584000" rIns="651600" bIns="126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le</a:t>
            </a:r>
          </a:p>
          <a:p>
            <a:pPr lvl="1"/>
            <a:r>
              <a:rPr lang="fr-FR" dirty="0" smtClean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4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5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6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Rectangle à coins arrondis 12"/>
          <p:cNvSpPr/>
          <p:nvPr userDrawn="1"/>
        </p:nvSpPr>
        <p:spPr>
          <a:xfrm>
            <a:off x="7803355" y="1440487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à coins arrondis 13"/>
          <p:cNvSpPr/>
          <p:nvPr userDrawn="1"/>
        </p:nvSpPr>
        <p:spPr>
          <a:xfrm>
            <a:off x="7803355" y="3606884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56"/>
          <p:cNvSpPr>
            <a:spLocks noGrp="1"/>
          </p:cNvSpPr>
          <p:nvPr>
            <p:ph type="body" sz="quarter" idx="27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4808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8181864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5616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8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34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Rectangle à coins arrondis 13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à coins arrondis 14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space réservé du texte 56"/>
          <p:cNvSpPr>
            <a:spLocks noGrp="1"/>
          </p:cNvSpPr>
          <p:nvPr>
            <p:ph type="body" sz="quarter" idx="37" hasCustomPrompt="1"/>
          </p:nvPr>
        </p:nvSpPr>
        <p:spPr>
          <a:xfrm>
            <a:off x="6725636" y="4808"/>
            <a:ext cx="2314482" cy="1157241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8" name="Espace réservé du texte 54"/>
          <p:cNvSpPr>
            <a:spLocks noGrp="1"/>
          </p:cNvSpPr>
          <p:nvPr>
            <p:ph type="body" sz="quarter" idx="18" hasCustomPrompt="1"/>
          </p:nvPr>
        </p:nvSpPr>
        <p:spPr>
          <a:xfrm>
            <a:off x="650240" y="0"/>
            <a:ext cx="8491478" cy="5143500"/>
          </a:xfrm>
          <a:noFill/>
        </p:spPr>
        <p:txBody>
          <a:bodyPr lIns="72000" tIns="1584000" rIns="651600" bIns="126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le</a:t>
            </a:r>
          </a:p>
          <a:p>
            <a:pPr lvl="1"/>
            <a:r>
              <a:rPr lang="fr-FR" dirty="0" smtClean="0"/>
              <a:t>Date</a:t>
            </a:r>
          </a:p>
        </p:txBody>
      </p:sp>
      <p:sp>
        <p:nvSpPr>
          <p:cNvPr id="19" name="Rectangle à coins arrondis 12"/>
          <p:cNvSpPr/>
          <p:nvPr userDrawn="1"/>
        </p:nvSpPr>
        <p:spPr>
          <a:xfrm>
            <a:off x="7803355" y="1440487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à coins arrondis 13"/>
          <p:cNvSpPr/>
          <p:nvPr userDrawn="1"/>
        </p:nvSpPr>
        <p:spPr>
          <a:xfrm>
            <a:off x="7803355" y="3606884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926958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292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2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406140" y="0"/>
            <a:ext cx="573786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34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Rectangle à coins arrondis 13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à coins arrondis 14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0753708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59715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16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406140" y="0"/>
            <a:ext cx="573786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34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Rectangle à coins arrondis 13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à coins arrondis 14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texte 56"/>
          <p:cNvSpPr>
            <a:spLocks noGrp="1"/>
          </p:cNvSpPr>
          <p:nvPr>
            <p:ph type="body" sz="quarter" idx="35" hasCustomPrompt="1"/>
          </p:nvPr>
        </p:nvSpPr>
        <p:spPr>
          <a:xfrm>
            <a:off x="6071870" y="621000"/>
            <a:ext cx="2914860" cy="1603173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4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837162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5267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40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375660" y="0"/>
            <a:ext cx="576834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34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Rectangle à coins arrondis 13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à coins arrondis 14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6" name="Espace réservé du texte 56"/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6104127" y="622173"/>
            <a:ext cx="2912727" cy="1602000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4286009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0039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64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375660" y="0"/>
            <a:ext cx="576834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34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Rectangle à coins arrondis 13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à coins arrondis 14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5" name="Espace réservé du texte 56"/>
          <p:cNvSpPr>
            <a:spLocks noGrp="1" noChangeAspect="1"/>
          </p:cNvSpPr>
          <p:nvPr>
            <p:ph type="body" sz="quarter" idx="37" hasCustomPrompt="1"/>
          </p:nvPr>
        </p:nvSpPr>
        <p:spPr>
          <a:xfrm>
            <a:off x="6087139" y="622173"/>
            <a:ext cx="2912727" cy="1602000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9190528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920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88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0"/>
            <a:ext cx="756000" cy="352089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675001"/>
            <a:ext cx="756000" cy="13489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23851" y="250032"/>
            <a:ext cx="8496299" cy="48551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noProof="0" smtClean="0"/>
              <a:t>TITRE</a:t>
            </a:r>
            <a:endParaRPr lang="fr-FR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>
          <a:xfrm>
            <a:off x="1587" y="1107000"/>
            <a:ext cx="2842260" cy="810000"/>
          </a:xfrm>
          <a:noFill/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itre 0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</p:nvPr>
        </p:nvSpPr>
        <p:spPr>
          <a:xfrm>
            <a:off x="3002280" y="1083110"/>
            <a:ext cx="5814695" cy="864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 sz="1600"/>
            </a:lvl1pPr>
          </a:lstStyle>
          <a:p>
            <a:pPr lvl="0"/>
            <a:r>
              <a:rPr lang="fr-FR" smtClean="0"/>
              <a:t>Texte</a:t>
            </a:r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046600"/>
            <a:ext cx="2842260" cy="810000"/>
          </a:xfrm>
          <a:noFill/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itre 0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3000693" y="2020119"/>
            <a:ext cx="5814695" cy="864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 sz="1600"/>
            </a:lvl1pPr>
          </a:lstStyle>
          <a:p>
            <a:pPr lvl="0"/>
            <a:r>
              <a:rPr lang="fr-FR" smtClean="0"/>
              <a:t>Text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1587" y="2983500"/>
            <a:ext cx="2842260" cy="810000"/>
          </a:xfrm>
          <a:noFill/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itre 0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5" hasCustomPrompt="1"/>
          </p:nvPr>
        </p:nvSpPr>
        <p:spPr>
          <a:xfrm>
            <a:off x="3002280" y="2957128"/>
            <a:ext cx="5814695" cy="864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 sz="1600"/>
            </a:lvl1pPr>
          </a:lstStyle>
          <a:p>
            <a:pPr lvl="0"/>
            <a:r>
              <a:rPr lang="fr-FR" smtClean="0"/>
              <a:t>Texte</a:t>
            </a:r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923100"/>
            <a:ext cx="2842260" cy="810000"/>
          </a:xfrm>
          <a:noFill/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itre 0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7" hasCustomPrompt="1"/>
          </p:nvPr>
        </p:nvSpPr>
        <p:spPr>
          <a:xfrm>
            <a:off x="3002974" y="3894136"/>
            <a:ext cx="5814695" cy="864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 sz="1600"/>
            </a:lvl1pPr>
          </a:lstStyle>
          <a:p>
            <a:pPr lvl="0"/>
            <a:r>
              <a:rPr lang="fr-FR" smtClean="0"/>
              <a:t>Texte</a:t>
            </a:r>
          </a:p>
        </p:txBody>
      </p:sp>
      <p:sp>
        <p:nvSpPr>
          <p:cNvPr id="15" name="Espace réservé de la date 1"/>
          <p:cNvSpPr>
            <a:spLocks noGrp="1"/>
          </p:cNvSpPr>
          <p:nvPr>
            <p:ph type="dt" sz="half" idx="24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8" name="Espace réservé du pied de page 2"/>
          <p:cNvSpPr>
            <a:spLocks noGrp="1"/>
          </p:cNvSpPr>
          <p:nvPr>
            <p:ph type="ftr" sz="quarter" idx="25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9" name="Espace réservé du numéro de diapositive 3"/>
          <p:cNvSpPr>
            <a:spLocks noGrp="1"/>
          </p:cNvSpPr>
          <p:nvPr>
            <p:ph type="sldNum" sz="quarter" idx="26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822007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443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2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406140" y="0"/>
            <a:ext cx="573786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F663494B-11AD-4044-84CF-2D439E662FE7}" type="datetimeFigureOut">
              <a:rPr lang="nl-NL" smtClean="0"/>
              <a:t>30-6-2017</a:t>
            </a:fld>
            <a:endParaRPr lang="nl-NL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BE9DF14E-77A6-43E1-AD9E-FE49AFFAAFCE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34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Rectangle à coins arrondis 13"/>
          <p:cNvSpPr/>
          <p:nvPr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à coins arrondis 14"/>
          <p:cNvSpPr/>
          <p:nvPr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117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12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>
          <a:xfrm>
            <a:off x="1" y="4002560"/>
            <a:ext cx="1773168" cy="65108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Rectangle à coins arrondis 25"/>
          <p:cNvSpPr/>
          <p:nvPr userDrawn="1"/>
        </p:nvSpPr>
        <p:spPr>
          <a:xfrm>
            <a:off x="661988" y="4002560"/>
            <a:ext cx="2058351" cy="65108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Rectangle 22"/>
          <p:cNvSpPr/>
          <p:nvPr userDrawn="1"/>
        </p:nvSpPr>
        <p:spPr>
          <a:xfrm>
            <a:off x="1" y="3062960"/>
            <a:ext cx="1773168" cy="6510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Rectangle à coins arrondis 23"/>
          <p:cNvSpPr/>
          <p:nvPr userDrawn="1"/>
        </p:nvSpPr>
        <p:spPr>
          <a:xfrm>
            <a:off x="661988" y="3062960"/>
            <a:ext cx="2058351" cy="65108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Rectangle 20"/>
          <p:cNvSpPr/>
          <p:nvPr userDrawn="1"/>
        </p:nvSpPr>
        <p:spPr>
          <a:xfrm>
            <a:off x="1" y="2126060"/>
            <a:ext cx="1773168" cy="651081"/>
          </a:xfrm>
          <a:prstGeom prst="rect">
            <a:avLst/>
          </a:prstGeom>
          <a:solidFill>
            <a:srgbClr val="96BE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Rectangle à coins arrondis 21"/>
          <p:cNvSpPr/>
          <p:nvPr userDrawn="1"/>
        </p:nvSpPr>
        <p:spPr>
          <a:xfrm>
            <a:off x="661988" y="2126060"/>
            <a:ext cx="2058351" cy="651081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/>
          <p:cNvSpPr/>
          <p:nvPr userDrawn="1"/>
        </p:nvSpPr>
        <p:spPr>
          <a:xfrm>
            <a:off x="1" y="1186460"/>
            <a:ext cx="1773168" cy="6510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à coins arrondis 2"/>
          <p:cNvSpPr/>
          <p:nvPr userDrawn="1"/>
        </p:nvSpPr>
        <p:spPr>
          <a:xfrm>
            <a:off x="661988" y="1186460"/>
            <a:ext cx="2058351" cy="6510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6" name="Imag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0"/>
            <a:ext cx="756000" cy="352089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675001"/>
            <a:ext cx="756000" cy="13489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23851" y="250032"/>
            <a:ext cx="8496299" cy="48551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noProof="0" smtClean="0"/>
              <a:t>TITRE</a:t>
            </a:r>
            <a:endParaRPr lang="fr-FR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>
          <a:xfrm>
            <a:off x="1587" y="1107000"/>
            <a:ext cx="2842260" cy="810000"/>
          </a:xfrm>
          <a:noFill/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itre 0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</p:nvPr>
        </p:nvSpPr>
        <p:spPr>
          <a:xfrm>
            <a:off x="3002280" y="1083110"/>
            <a:ext cx="5814695" cy="864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 sz="1600"/>
            </a:lvl1pPr>
          </a:lstStyle>
          <a:p>
            <a:pPr lvl="0"/>
            <a:r>
              <a:rPr lang="fr-FR" smtClean="0"/>
              <a:t>Texte</a:t>
            </a:r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046600"/>
            <a:ext cx="2842260" cy="810000"/>
          </a:xfrm>
          <a:noFill/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itre 0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3000693" y="2020119"/>
            <a:ext cx="5814695" cy="864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 sz="1600"/>
            </a:lvl1pPr>
          </a:lstStyle>
          <a:p>
            <a:pPr lvl="0"/>
            <a:r>
              <a:rPr lang="fr-FR" smtClean="0"/>
              <a:t>Text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1587" y="2983500"/>
            <a:ext cx="2842260" cy="810000"/>
          </a:xfrm>
          <a:noFill/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itre 0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5" hasCustomPrompt="1"/>
          </p:nvPr>
        </p:nvSpPr>
        <p:spPr>
          <a:xfrm>
            <a:off x="3002280" y="2957128"/>
            <a:ext cx="5814695" cy="864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 sz="1600"/>
            </a:lvl1pPr>
          </a:lstStyle>
          <a:p>
            <a:pPr lvl="0"/>
            <a:r>
              <a:rPr lang="fr-FR" smtClean="0"/>
              <a:t>Texte</a:t>
            </a:r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923100"/>
            <a:ext cx="2842260" cy="810000"/>
          </a:xfrm>
          <a:noFill/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itre 0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7" hasCustomPrompt="1"/>
          </p:nvPr>
        </p:nvSpPr>
        <p:spPr>
          <a:xfrm>
            <a:off x="3002974" y="3894136"/>
            <a:ext cx="5814695" cy="864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 sz="1600"/>
            </a:lvl1pPr>
          </a:lstStyle>
          <a:p>
            <a:pPr lvl="0"/>
            <a:r>
              <a:rPr lang="fr-FR" smtClean="0"/>
              <a:t>Texte</a:t>
            </a:r>
          </a:p>
        </p:txBody>
      </p:sp>
      <p:sp>
        <p:nvSpPr>
          <p:cNvPr id="15" name="Espace réservé de la date 1"/>
          <p:cNvSpPr>
            <a:spLocks noGrp="1"/>
          </p:cNvSpPr>
          <p:nvPr>
            <p:ph type="dt" sz="half" idx="24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8" name="Espace réservé du pied de page 2"/>
          <p:cNvSpPr>
            <a:spLocks noGrp="1"/>
          </p:cNvSpPr>
          <p:nvPr>
            <p:ph type="ftr" sz="quarter" idx="25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9" name="Espace réservé du numéro de diapositive 3"/>
          <p:cNvSpPr>
            <a:spLocks noGrp="1"/>
          </p:cNvSpPr>
          <p:nvPr>
            <p:ph type="sldNum" sz="quarter" idx="26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537289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979644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3851" y="1356123"/>
            <a:ext cx="3564000" cy="3175397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>
          <a:xfrm>
            <a:off x="4248151" y="1383506"/>
            <a:ext cx="4568825" cy="3148013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</a:lvl1pPr>
          </a:lstStyle>
          <a:p>
            <a:r>
              <a:rPr lang="en-US" noProof="0" smtClean="0"/>
              <a:t>Select the icon to insert a pictur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70173349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3851" y="1356123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834" y="3787379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1" hasCustomPrompt="1"/>
          </p:nvPr>
        </p:nvSpPr>
        <p:spPr>
          <a:xfrm>
            <a:off x="3276017" y="1356122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3330000" y="3787378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6217110" y="1356122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6271093" y="3787378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2225707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3221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0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5" name="Espace réservé du texte 56"/>
          <p:cNvSpPr>
            <a:spLocks noGrp="1"/>
          </p:cNvSpPr>
          <p:nvPr>
            <p:ph type="body" sz="quarter" idx="29" hasCustomPrompt="1"/>
          </p:nvPr>
        </p:nvSpPr>
        <p:spPr>
          <a:xfrm>
            <a:off x="6725636" y="4808"/>
            <a:ext cx="2314482" cy="1157241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7" name="Espace réservé du texte 54"/>
          <p:cNvSpPr>
            <a:spLocks noGrp="1"/>
          </p:cNvSpPr>
          <p:nvPr>
            <p:ph type="body" sz="quarter" idx="18" hasCustomPrompt="1"/>
          </p:nvPr>
        </p:nvSpPr>
        <p:spPr>
          <a:xfrm>
            <a:off x="661988" y="0"/>
            <a:ext cx="8479730" cy="5143500"/>
          </a:xfrm>
          <a:noFill/>
        </p:spPr>
        <p:txBody>
          <a:bodyPr lIns="72000" tIns="1584000" rIns="651600" bIns="126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le</a:t>
            </a:r>
          </a:p>
          <a:p>
            <a:pPr lvl="1"/>
            <a:r>
              <a:rPr lang="fr-FR" dirty="0" smtClean="0"/>
              <a:t>Date</a:t>
            </a:r>
          </a:p>
        </p:txBody>
      </p:sp>
      <p:sp>
        <p:nvSpPr>
          <p:cNvPr id="18" name="Rectangle à coins arrondis 15"/>
          <p:cNvSpPr/>
          <p:nvPr userDrawn="1"/>
        </p:nvSpPr>
        <p:spPr>
          <a:xfrm>
            <a:off x="7803355" y="1440487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à coins arrondis 16"/>
          <p:cNvSpPr/>
          <p:nvPr userDrawn="1"/>
        </p:nvSpPr>
        <p:spPr>
          <a:xfrm>
            <a:off x="7803355" y="3606884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63992102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5370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84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4" name="Rectangle à coins arrondis 23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à coins arrondis 24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406140" y="0"/>
            <a:ext cx="573786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602054748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8438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08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>
          <a:xfrm>
            <a:off x="3175" y="0"/>
            <a:ext cx="9140825" cy="5143500"/>
          </a:xfrm>
          <a:prstGeom prst="rect">
            <a:avLst/>
          </a:prstGeom>
          <a:solidFill>
            <a:srgbClr val="96BE0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>
          <a:xfrm>
            <a:off x="661988" y="0"/>
            <a:ext cx="8479730" cy="5143500"/>
          </a:xfrm>
          <a:noFill/>
        </p:spPr>
        <p:txBody>
          <a:bodyPr lIns="72000" tIns="1584000" rIns="651600" bIns="126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le</a:t>
            </a:r>
          </a:p>
          <a:p>
            <a:pPr lvl="1"/>
            <a:r>
              <a:rPr lang="fr-FR" dirty="0" smtClean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4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5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6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6" name="Rectangle à coins arrondis 15"/>
          <p:cNvSpPr/>
          <p:nvPr userDrawn="1"/>
        </p:nvSpPr>
        <p:spPr>
          <a:xfrm>
            <a:off x="7803355" y="1440487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à coins arrondis 16"/>
          <p:cNvSpPr/>
          <p:nvPr userDrawn="1"/>
        </p:nvSpPr>
        <p:spPr>
          <a:xfrm>
            <a:off x="7803355" y="3606884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texte 56"/>
          <p:cNvSpPr>
            <a:spLocks noGrp="1"/>
          </p:cNvSpPr>
          <p:nvPr>
            <p:ph type="body" sz="quarter" idx="28" hasCustomPrompt="1"/>
          </p:nvPr>
        </p:nvSpPr>
        <p:spPr>
          <a:xfrm>
            <a:off x="6725636" y="4808"/>
            <a:ext cx="2314482" cy="1157241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4605623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889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32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rgbClr val="96BE0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413760" y="0"/>
            <a:ext cx="573024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4" name="Rectangle à coins arrondis 23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à coins arrondis 24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Espace réservé du texte 56"/>
          <p:cNvSpPr>
            <a:spLocks noGrp="1"/>
          </p:cNvSpPr>
          <p:nvPr>
            <p:ph type="body" sz="quarter" idx="37" hasCustomPrompt="1"/>
          </p:nvPr>
        </p:nvSpPr>
        <p:spPr>
          <a:xfrm>
            <a:off x="6100951" y="622173"/>
            <a:ext cx="2912728" cy="1602000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64583801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3619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56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8" name="Rectangle 27"/>
          <p:cNvSpPr/>
          <p:nvPr userDrawn="1"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rgbClr val="96BE0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345180" y="0"/>
            <a:ext cx="579882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5" name="Rectangle à coins arrondis 14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ectangle à coins arrondis 17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Espace réservé du texte 56"/>
          <p:cNvSpPr>
            <a:spLocks noGrp="1"/>
          </p:cNvSpPr>
          <p:nvPr>
            <p:ph type="body" sz="quarter" idx="37" hasCustomPrompt="1"/>
          </p:nvPr>
        </p:nvSpPr>
        <p:spPr>
          <a:xfrm>
            <a:off x="6085035" y="620999"/>
            <a:ext cx="2912216" cy="1601719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4329556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5763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80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rgbClr val="96BE0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360420" y="0"/>
            <a:ext cx="578358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5" name="Rectangle à coins arrondis 14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ectangle à coins arrondis 17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Espace réservé du texte 56"/>
          <p:cNvSpPr>
            <a:spLocks noGrp="1"/>
          </p:cNvSpPr>
          <p:nvPr>
            <p:ph type="body" sz="quarter" idx="37" hasCustomPrompt="1"/>
          </p:nvPr>
        </p:nvSpPr>
        <p:spPr>
          <a:xfrm>
            <a:off x="6100092" y="621000"/>
            <a:ext cx="2899160" cy="1594538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432955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6182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6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Espace réservé pour une image 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175" y="0"/>
            <a:ext cx="9140825" cy="51435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>
          <a:xfrm>
            <a:off x="661988" y="0"/>
            <a:ext cx="8479730" cy="5143500"/>
          </a:xfrm>
          <a:noFill/>
        </p:spPr>
        <p:txBody>
          <a:bodyPr lIns="72000" tIns="1584000" rIns="651600" bIns="126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le</a:t>
            </a:r>
          </a:p>
          <a:p>
            <a:pPr lvl="1"/>
            <a:r>
              <a:rPr lang="fr-FR" dirty="0" smtClean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4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F663494B-11AD-4044-84CF-2D439E662FE7}" type="datetimeFigureOut">
              <a:rPr lang="nl-NL" smtClean="0"/>
              <a:t>30-6-2017</a:t>
            </a:fld>
            <a:endParaRPr lang="nl-NL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5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6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BE9DF14E-77A6-43E1-AD9E-FE49AFFAAFCE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Rectangle à coins arrondis 12"/>
          <p:cNvSpPr/>
          <p:nvPr/>
        </p:nvSpPr>
        <p:spPr>
          <a:xfrm>
            <a:off x="7803355" y="1440487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à coins arrondis 13"/>
          <p:cNvSpPr/>
          <p:nvPr/>
        </p:nvSpPr>
        <p:spPr>
          <a:xfrm>
            <a:off x="7803355" y="3606884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56"/>
          <p:cNvSpPr>
            <a:spLocks noGrp="1"/>
          </p:cNvSpPr>
          <p:nvPr>
            <p:ph type="body" sz="quarter" idx="27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4808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rgbClr val="96BE0F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rgbClr val="96BE0F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309810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3851" y="1356123"/>
            <a:ext cx="3564000" cy="3175397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>
          <a:xfrm>
            <a:off x="4248151" y="1383506"/>
            <a:ext cx="4568825" cy="3148013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</a:lvl1pPr>
          </a:lstStyle>
          <a:p>
            <a:r>
              <a:rPr lang="en-US" noProof="0" smtClean="0"/>
              <a:t>Select the icon to insert a pictur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rgbClr val="96BE0F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rgbClr val="96BE0F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632641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3851" y="1356123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834" y="3787379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1" hasCustomPrompt="1"/>
          </p:nvPr>
        </p:nvSpPr>
        <p:spPr>
          <a:xfrm>
            <a:off x="3276017" y="1356122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3330000" y="3787378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6217110" y="1356122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6271093" y="3787378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rgbClr val="96BE0F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rgbClr val="96BE0F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68105132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58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28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4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29" hasCustomPrompt="1"/>
          </p:nvPr>
        </p:nvSpPr>
        <p:spPr>
          <a:xfrm>
            <a:off x="6725636" y="4808"/>
            <a:ext cx="2314482" cy="1157241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1" name="Espace réservé du texte 54"/>
          <p:cNvSpPr>
            <a:spLocks noGrp="1"/>
          </p:cNvSpPr>
          <p:nvPr>
            <p:ph type="body" sz="quarter" idx="18" hasCustomPrompt="1"/>
          </p:nvPr>
        </p:nvSpPr>
        <p:spPr>
          <a:xfrm>
            <a:off x="661988" y="0"/>
            <a:ext cx="8479729" cy="5143500"/>
          </a:xfrm>
          <a:noFill/>
        </p:spPr>
        <p:txBody>
          <a:bodyPr lIns="72000" tIns="1584000" rIns="651600" bIns="126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le</a:t>
            </a:r>
          </a:p>
          <a:p>
            <a:pPr lvl="1"/>
            <a:r>
              <a:rPr lang="fr-FR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57906939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1509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52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371850" y="0"/>
            <a:ext cx="577215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4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5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4596965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3086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76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175" y="0"/>
            <a:ext cx="9140825" cy="5143500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>
          <a:xfrm>
            <a:off x="661988" y="0"/>
            <a:ext cx="8479729" cy="5143500"/>
          </a:xfrm>
          <a:noFill/>
        </p:spPr>
        <p:txBody>
          <a:bodyPr lIns="72000" tIns="1584000" rIns="651600" bIns="126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le</a:t>
            </a:r>
          </a:p>
          <a:p>
            <a:pPr lvl="1"/>
            <a:r>
              <a:rPr lang="fr-FR" dirty="0" smtClean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4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5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6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6" name="Rectangle à coins arrondis 15"/>
          <p:cNvSpPr/>
          <p:nvPr userDrawn="1"/>
        </p:nvSpPr>
        <p:spPr>
          <a:xfrm>
            <a:off x="7803355" y="1440487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à coins arrondis 16"/>
          <p:cNvSpPr/>
          <p:nvPr userDrawn="1"/>
        </p:nvSpPr>
        <p:spPr>
          <a:xfrm>
            <a:off x="7803355" y="3606884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texte 56"/>
          <p:cNvSpPr>
            <a:spLocks noGrp="1"/>
          </p:cNvSpPr>
          <p:nvPr>
            <p:ph type="body" sz="quarter" idx="28" hasCustomPrompt="1"/>
          </p:nvPr>
        </p:nvSpPr>
        <p:spPr>
          <a:xfrm>
            <a:off x="6725636" y="4808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1160782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846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0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371850" y="0"/>
            <a:ext cx="577215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4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5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8" name="Rectangle à coins arrondis 17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Rectangle à coins arrondis 23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7" hasCustomPrompt="1"/>
          </p:nvPr>
        </p:nvSpPr>
        <p:spPr>
          <a:xfrm>
            <a:off x="6078862" y="621000"/>
            <a:ext cx="2934538" cy="1613996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1447950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0996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24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400425" y="0"/>
            <a:ext cx="5743575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4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5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8" name="Rectangle à coins arrondis 17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Rectangle à coins arrondis 23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space réservé du texte 56"/>
          <p:cNvSpPr>
            <a:spLocks noGrp="1"/>
          </p:cNvSpPr>
          <p:nvPr>
            <p:ph type="body" sz="quarter" idx="37" hasCustomPrompt="1"/>
          </p:nvPr>
        </p:nvSpPr>
        <p:spPr>
          <a:xfrm>
            <a:off x="6070851" y="621000"/>
            <a:ext cx="2934538" cy="1613996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7604232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1488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48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419475" y="0"/>
            <a:ext cx="5724525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4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5" name="Rectangle à coins arrondis 14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ectangle à coins arrondis 17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7" name="Espace réservé du texte 56"/>
          <p:cNvSpPr>
            <a:spLocks noGrp="1"/>
          </p:cNvSpPr>
          <p:nvPr>
            <p:ph type="body" sz="quarter" idx="37" hasCustomPrompt="1"/>
          </p:nvPr>
        </p:nvSpPr>
        <p:spPr>
          <a:xfrm>
            <a:off x="6064711" y="621000"/>
            <a:ext cx="2934538" cy="1613996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7604232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522900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70488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0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Espace réservé pour une image 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406140" y="0"/>
            <a:ext cx="573786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F663494B-11AD-4044-84CF-2D439E662FE7}" type="datetimeFigureOut">
              <a:rPr lang="nl-NL" smtClean="0"/>
              <a:t>30-6-2017</a:t>
            </a:fld>
            <a:endParaRPr lang="nl-NL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BE9DF14E-77A6-43E1-AD9E-FE49AFFAAFCE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34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Rectangle à coins arrondis 13"/>
          <p:cNvSpPr/>
          <p:nvPr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à coins arrondis 14"/>
          <p:cNvSpPr/>
          <p:nvPr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texte 56"/>
          <p:cNvSpPr>
            <a:spLocks noGrp="1"/>
          </p:cNvSpPr>
          <p:nvPr>
            <p:ph type="body" sz="quarter" idx="35" hasCustomPrompt="1"/>
          </p:nvPr>
        </p:nvSpPr>
        <p:spPr>
          <a:xfrm>
            <a:off x="6071870" y="621000"/>
            <a:ext cx="2914860" cy="1603173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4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8836461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3851" y="1356123"/>
            <a:ext cx="3564000" cy="3175397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>
          <a:xfrm>
            <a:off x="4248151" y="1383506"/>
            <a:ext cx="4568825" cy="3148013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</a:lvl1pPr>
          </a:lstStyle>
          <a:p>
            <a:r>
              <a:rPr lang="en-US" noProof="0" smtClean="0"/>
              <a:t>Select the icon to insert a pictur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2584018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3851" y="1356123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834" y="3787379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1" hasCustomPrompt="1"/>
          </p:nvPr>
        </p:nvSpPr>
        <p:spPr>
          <a:xfrm>
            <a:off x="3276017" y="1356122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3330000" y="3787378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6217110" y="1356122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6271093" y="3787378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9187851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237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6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7" name="Espace réservé du texte 56"/>
          <p:cNvSpPr>
            <a:spLocks noGrp="1"/>
          </p:cNvSpPr>
          <p:nvPr>
            <p:ph type="body" sz="quarter" idx="29" hasCustomPrompt="1"/>
          </p:nvPr>
        </p:nvSpPr>
        <p:spPr>
          <a:xfrm>
            <a:off x="6725636" y="4808"/>
            <a:ext cx="2314482" cy="1157241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9" name="Espace réservé du texte 54"/>
          <p:cNvSpPr>
            <a:spLocks noGrp="1"/>
          </p:cNvSpPr>
          <p:nvPr>
            <p:ph type="body" sz="quarter" idx="18" hasCustomPrompt="1"/>
          </p:nvPr>
        </p:nvSpPr>
        <p:spPr>
          <a:xfrm>
            <a:off x="327026" y="0"/>
            <a:ext cx="8814692" cy="5143500"/>
          </a:xfrm>
          <a:noFill/>
        </p:spPr>
        <p:txBody>
          <a:bodyPr lIns="72000" tIns="1584000" rIns="651600" bIns="126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le</a:t>
            </a:r>
          </a:p>
          <a:p>
            <a:pPr lvl="1"/>
            <a:r>
              <a:rPr lang="fr-FR" dirty="0" smtClean="0"/>
              <a:t>Date</a:t>
            </a:r>
          </a:p>
        </p:txBody>
      </p:sp>
      <p:sp>
        <p:nvSpPr>
          <p:cNvPr id="20" name="Rectangle à coins arrondis 15"/>
          <p:cNvSpPr/>
          <p:nvPr userDrawn="1"/>
        </p:nvSpPr>
        <p:spPr>
          <a:xfrm>
            <a:off x="7803355" y="1440487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Rectangle à coins arrondis 16"/>
          <p:cNvSpPr/>
          <p:nvPr userDrawn="1"/>
        </p:nvSpPr>
        <p:spPr>
          <a:xfrm>
            <a:off x="7803355" y="3606884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2510835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88649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20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429000" y="0"/>
            <a:ext cx="571500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8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4" name="Rectangle à coins arrondis 23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à coins arrondis 24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6492688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6874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44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175" y="0"/>
            <a:ext cx="9140825" cy="51435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>
          <a:xfrm>
            <a:off x="327026" y="0"/>
            <a:ext cx="8814692" cy="5143500"/>
          </a:xfrm>
          <a:noFill/>
        </p:spPr>
        <p:txBody>
          <a:bodyPr lIns="72000" tIns="1584000" rIns="651600" bIns="126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le</a:t>
            </a:r>
          </a:p>
          <a:p>
            <a:pPr lvl="1"/>
            <a:r>
              <a:rPr lang="fr-FR" dirty="0" smtClean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4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5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6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1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6" name="Rectangle à coins arrondis 15"/>
          <p:cNvSpPr/>
          <p:nvPr userDrawn="1"/>
        </p:nvSpPr>
        <p:spPr>
          <a:xfrm>
            <a:off x="7803355" y="1440487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à coins arrondis 16"/>
          <p:cNvSpPr/>
          <p:nvPr userDrawn="1"/>
        </p:nvSpPr>
        <p:spPr>
          <a:xfrm>
            <a:off x="7803355" y="3606884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texte 56"/>
          <p:cNvSpPr>
            <a:spLocks noGrp="1"/>
          </p:cNvSpPr>
          <p:nvPr>
            <p:ph type="body" sz="quarter" idx="28" hasCustomPrompt="1"/>
          </p:nvPr>
        </p:nvSpPr>
        <p:spPr>
          <a:xfrm>
            <a:off x="6725636" y="4808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8656311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84879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68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429000" y="0"/>
            <a:ext cx="571500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8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4" name="Rectangle à coins arrondis 23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à coins arrondis 24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Espace réservé du texte 56"/>
          <p:cNvSpPr>
            <a:spLocks noGrp="1"/>
          </p:cNvSpPr>
          <p:nvPr>
            <p:ph type="body" sz="quarter" idx="37" hasCustomPrompt="1"/>
          </p:nvPr>
        </p:nvSpPr>
        <p:spPr>
          <a:xfrm>
            <a:off x="6072140" y="621000"/>
            <a:ext cx="2934909" cy="1614200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5469174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70852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92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419475" y="0"/>
            <a:ext cx="5724525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8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4" name="Rectangle à coins arrondis 23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à coins arrondis 24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Espace réservé du texte 56"/>
          <p:cNvSpPr>
            <a:spLocks noGrp="1"/>
          </p:cNvSpPr>
          <p:nvPr>
            <p:ph type="body" sz="quarter" idx="37" hasCustomPrompt="1"/>
          </p:nvPr>
        </p:nvSpPr>
        <p:spPr>
          <a:xfrm>
            <a:off x="6077336" y="621000"/>
            <a:ext cx="2923364" cy="1607850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2658818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50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16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Espace réservé pour une image 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429000" y="0"/>
            <a:ext cx="571500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/>
              <a:t>TITRE DE LA PRESENTATION ( MENU "INSERTION / EN-TETE ET PIED DE PAGE")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22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8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4" name="Rectangle à coins arrondis 23"/>
          <p:cNvSpPr/>
          <p:nvPr userDrawn="1"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à coins arrondis 24"/>
          <p:cNvSpPr/>
          <p:nvPr userDrawn="1"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Espace réservé du texte 56"/>
          <p:cNvSpPr>
            <a:spLocks noGrp="1"/>
          </p:cNvSpPr>
          <p:nvPr>
            <p:ph type="body" sz="quarter" idx="37" hasCustomPrompt="1"/>
          </p:nvPr>
        </p:nvSpPr>
        <p:spPr>
          <a:xfrm>
            <a:off x="6045200" y="621000"/>
            <a:ext cx="2980900" cy="1639495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2658818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0268977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3851" y="1356123"/>
            <a:ext cx="3564000" cy="3175397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>
          <a:xfrm>
            <a:off x="4248151" y="1383506"/>
            <a:ext cx="4568825" cy="3148013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</a:lvl1pPr>
          </a:lstStyle>
          <a:p>
            <a:r>
              <a:rPr lang="en-US" noProof="0" smtClean="0"/>
              <a:t>Select the icon to insert a pictur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066761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304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4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Espace réservé pour une image 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375660" y="0"/>
            <a:ext cx="576834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F663494B-11AD-4044-84CF-2D439E662FE7}" type="datetimeFigureOut">
              <a:rPr lang="nl-NL" smtClean="0"/>
              <a:t>30-6-2017</a:t>
            </a:fld>
            <a:endParaRPr lang="nl-NL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BE9DF14E-77A6-43E1-AD9E-FE49AFFAAFCE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34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Rectangle à coins arrondis 13"/>
          <p:cNvSpPr/>
          <p:nvPr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à coins arrondis 14"/>
          <p:cNvSpPr/>
          <p:nvPr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6" name="Espace réservé du texte 56"/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6104127" y="622173"/>
            <a:ext cx="2912727" cy="1602000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07496032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3851" y="1356123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834" y="3787379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1" hasCustomPrompt="1"/>
          </p:nvPr>
        </p:nvSpPr>
        <p:spPr>
          <a:xfrm>
            <a:off x="3276017" y="1356122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3330000" y="3787378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6217110" y="1356122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6271093" y="3787378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774500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203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8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Espace réservé pour une image 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2" b="1508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3267725" y="0"/>
            <a:ext cx="5876275" cy="51435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>
          <a:xfrm>
            <a:off x="3375660" y="0"/>
            <a:ext cx="5768340" cy="5143500"/>
          </a:xfrm>
          <a:noFill/>
        </p:spPr>
        <p:txBody>
          <a:bodyPr lIns="72000" tIns="2088000" rIns="651600" bIns="2700000"/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ter title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F663494B-11AD-4044-84CF-2D439E662FE7}" type="datetimeFigureOut">
              <a:rPr lang="nl-NL" smtClean="0"/>
              <a:t>30-6-2017</a:t>
            </a:fld>
            <a:endParaRPr lang="nl-NL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BE9DF14E-77A6-43E1-AD9E-FE49AFFAAFCE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Espace réservé du texte 56"/>
          <p:cNvSpPr>
            <a:spLocks noGrp="1"/>
          </p:cNvSpPr>
          <p:nvPr>
            <p:ph type="body" sz="quarter" idx="34" hasCustomPrompt="1"/>
          </p:nvPr>
        </p:nvSpPr>
        <p:spPr>
          <a:xfrm>
            <a:off x="146" y="4416900"/>
            <a:ext cx="9143708" cy="322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14" name="Rectangle à coins arrondis 13"/>
          <p:cNvSpPr/>
          <p:nvPr/>
        </p:nvSpPr>
        <p:spPr>
          <a:xfrm>
            <a:off x="7803355" y="464718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à coins arrondis 14"/>
          <p:cNvSpPr/>
          <p:nvPr/>
        </p:nvSpPr>
        <p:spPr>
          <a:xfrm>
            <a:off x="7803355" y="2999330"/>
            <a:ext cx="658813" cy="549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texte 56"/>
          <p:cNvSpPr>
            <a:spLocks noGrp="1"/>
          </p:cNvSpPr>
          <p:nvPr>
            <p:ph type="body" sz="quarter" idx="36" hasCustomPrompt="1"/>
          </p:nvPr>
        </p:nvSpPr>
        <p:spPr>
          <a:xfrm>
            <a:off x="6725636" y="3115191"/>
            <a:ext cx="2314482" cy="1157241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  <p:sp>
        <p:nvSpPr>
          <p:cNvPr id="25" name="Espace réservé du texte 56"/>
          <p:cNvSpPr>
            <a:spLocks noGrp="1" noChangeAspect="1"/>
          </p:cNvSpPr>
          <p:nvPr>
            <p:ph type="body" sz="quarter" idx="37" hasCustomPrompt="1"/>
          </p:nvPr>
        </p:nvSpPr>
        <p:spPr>
          <a:xfrm>
            <a:off x="6087139" y="622173"/>
            <a:ext cx="2912727" cy="1602000"/>
          </a:xfr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6113371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7940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2"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/>
        </p:nvSpPr>
        <p:spPr>
          <a:xfrm>
            <a:off x="1" y="4002560"/>
            <a:ext cx="1773168" cy="65108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Rectangle à coins arrondis 25"/>
          <p:cNvSpPr/>
          <p:nvPr/>
        </p:nvSpPr>
        <p:spPr>
          <a:xfrm>
            <a:off x="661988" y="4002560"/>
            <a:ext cx="2058351" cy="65108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Rectangle 22"/>
          <p:cNvSpPr/>
          <p:nvPr/>
        </p:nvSpPr>
        <p:spPr>
          <a:xfrm>
            <a:off x="1" y="3062960"/>
            <a:ext cx="1773168" cy="6510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Rectangle à coins arrondis 23"/>
          <p:cNvSpPr/>
          <p:nvPr/>
        </p:nvSpPr>
        <p:spPr>
          <a:xfrm>
            <a:off x="661988" y="3062960"/>
            <a:ext cx="2058351" cy="65108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Rectangle 20"/>
          <p:cNvSpPr/>
          <p:nvPr/>
        </p:nvSpPr>
        <p:spPr>
          <a:xfrm>
            <a:off x="1" y="2126060"/>
            <a:ext cx="1773168" cy="651081"/>
          </a:xfrm>
          <a:prstGeom prst="rect">
            <a:avLst/>
          </a:prstGeom>
          <a:solidFill>
            <a:srgbClr val="96BE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Rectangle à coins arrondis 21"/>
          <p:cNvSpPr/>
          <p:nvPr/>
        </p:nvSpPr>
        <p:spPr>
          <a:xfrm>
            <a:off x="661988" y="2126060"/>
            <a:ext cx="2058351" cy="651081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/>
          <p:cNvSpPr/>
          <p:nvPr/>
        </p:nvSpPr>
        <p:spPr>
          <a:xfrm>
            <a:off x="1" y="1186460"/>
            <a:ext cx="1773168" cy="6510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à coins arrondis 2"/>
          <p:cNvSpPr/>
          <p:nvPr/>
        </p:nvSpPr>
        <p:spPr>
          <a:xfrm>
            <a:off x="661988" y="1186460"/>
            <a:ext cx="2058351" cy="6510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0"/>
            <a:ext cx="756000" cy="352089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675001"/>
            <a:ext cx="756000" cy="13489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23851" y="250032"/>
            <a:ext cx="8496299" cy="48551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noProof="0" smtClean="0"/>
              <a:t>TITRE</a:t>
            </a:r>
            <a:endParaRPr lang="fr-FR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>
          <a:xfrm>
            <a:off x="1587" y="1107000"/>
            <a:ext cx="2842260" cy="810000"/>
          </a:xfrm>
          <a:noFill/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itre 0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</p:nvPr>
        </p:nvSpPr>
        <p:spPr>
          <a:xfrm>
            <a:off x="3002280" y="1083110"/>
            <a:ext cx="5814695" cy="864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 sz="1600"/>
            </a:lvl1pPr>
          </a:lstStyle>
          <a:p>
            <a:pPr lvl="0"/>
            <a:r>
              <a:rPr lang="fr-FR" smtClean="0"/>
              <a:t>Texte</a:t>
            </a:r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046600"/>
            <a:ext cx="2842260" cy="810000"/>
          </a:xfrm>
          <a:noFill/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itre 0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3000693" y="2020119"/>
            <a:ext cx="5814695" cy="864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 sz="1600"/>
            </a:lvl1pPr>
          </a:lstStyle>
          <a:p>
            <a:pPr lvl="0"/>
            <a:r>
              <a:rPr lang="fr-FR" smtClean="0"/>
              <a:t>Text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1587" y="2983500"/>
            <a:ext cx="2842260" cy="810000"/>
          </a:xfrm>
          <a:noFill/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itre 0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5" hasCustomPrompt="1"/>
          </p:nvPr>
        </p:nvSpPr>
        <p:spPr>
          <a:xfrm>
            <a:off x="3002280" y="2957128"/>
            <a:ext cx="5814695" cy="864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 sz="1600"/>
            </a:lvl1pPr>
          </a:lstStyle>
          <a:p>
            <a:pPr lvl="0"/>
            <a:r>
              <a:rPr lang="fr-FR" smtClean="0"/>
              <a:t>Texte</a:t>
            </a:r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923100"/>
            <a:ext cx="2842260" cy="810000"/>
          </a:xfrm>
          <a:noFill/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Chapitre 0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7" hasCustomPrompt="1"/>
          </p:nvPr>
        </p:nvSpPr>
        <p:spPr>
          <a:xfrm>
            <a:off x="3002974" y="3894136"/>
            <a:ext cx="5814695" cy="864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 sz="1600"/>
            </a:lvl1pPr>
          </a:lstStyle>
          <a:p>
            <a:pPr lvl="0"/>
            <a:r>
              <a:rPr lang="fr-FR" smtClean="0"/>
              <a:t>Texte</a:t>
            </a:r>
          </a:p>
        </p:txBody>
      </p:sp>
      <p:sp>
        <p:nvSpPr>
          <p:cNvPr id="15" name="Espace réservé de la date 1"/>
          <p:cNvSpPr>
            <a:spLocks noGrp="1"/>
          </p:cNvSpPr>
          <p:nvPr>
            <p:ph type="dt" sz="half" idx="24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F663494B-11AD-4044-84CF-2D439E662FE7}" type="datetimeFigureOut">
              <a:rPr lang="nl-NL" smtClean="0"/>
              <a:t>30-6-2017</a:t>
            </a:fld>
            <a:endParaRPr lang="nl-NL"/>
          </a:p>
        </p:txBody>
      </p:sp>
      <p:sp>
        <p:nvSpPr>
          <p:cNvPr id="18" name="Espace réservé du pied de page 2"/>
          <p:cNvSpPr>
            <a:spLocks noGrp="1"/>
          </p:cNvSpPr>
          <p:nvPr>
            <p:ph type="ftr" sz="quarter" idx="25"/>
          </p:nvPr>
        </p:nvSpPr>
        <p:spPr>
          <a:xfrm>
            <a:off x="1" y="5020866"/>
            <a:ext cx="327025" cy="122634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19" name="Espace réservé du numéro de diapositive 3"/>
          <p:cNvSpPr>
            <a:spLocks noGrp="1"/>
          </p:cNvSpPr>
          <p:nvPr>
            <p:ph type="sldNum" sz="quarter" idx="26"/>
          </p:nvPr>
        </p:nvSpPr>
        <p:spPr>
          <a:xfrm>
            <a:off x="1" y="5020867"/>
            <a:ext cx="327024" cy="122633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BE9DF14E-77A6-43E1-AD9E-FE49AFFAAFC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7406815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3851" y="1356123"/>
            <a:ext cx="3564000" cy="317539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defRPr baseline="0"/>
            </a:lvl4pPr>
          </a:lstStyle>
          <a:p>
            <a:pPr lvl="0"/>
            <a:r>
              <a:rPr lang="en-US" noProof="0" dirty="0" smtClean="0"/>
              <a:t>Text level 1</a:t>
            </a:r>
          </a:p>
          <a:p>
            <a:pPr lvl="1"/>
            <a:r>
              <a:rPr lang="en-US" noProof="0" dirty="0" smtClean="0"/>
              <a:t>Text level 2</a:t>
            </a:r>
          </a:p>
          <a:p>
            <a:pPr lvl="2"/>
            <a:r>
              <a:rPr lang="en-US" noProof="0" dirty="0" smtClean="0"/>
              <a:t>Text level 3</a:t>
            </a:r>
          </a:p>
          <a:p>
            <a:pPr lvl="3"/>
            <a:r>
              <a:rPr lang="en-US" noProof="0" dirty="0" smtClean="0"/>
              <a:t>Text level 4</a:t>
            </a:r>
          </a:p>
          <a:p>
            <a:pPr lvl="4"/>
            <a:r>
              <a:rPr lang="en-US" noProof="0" dirty="0" smtClean="0"/>
              <a:t>Text level 5</a:t>
            </a:r>
            <a:endParaRPr lang="en-US" noProof="0" dirty="0"/>
          </a:p>
        </p:txBody>
      </p:sp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>
          <a:xfrm>
            <a:off x="4248151" y="1383506"/>
            <a:ext cx="4568825" cy="3148013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</a:lvl1pPr>
          </a:lstStyle>
          <a:p>
            <a:r>
              <a:rPr lang="en-US" noProof="0" smtClean="0"/>
              <a:t>Select the icon to insert a pictur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F663494B-11AD-4044-84CF-2D439E662FE7}" type="datetimeFigureOut">
              <a:rPr lang="nl-NL" smtClean="0"/>
              <a:t>30-6-2017</a:t>
            </a:fld>
            <a:endParaRPr lang="nl-NL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BE9DF14E-77A6-43E1-AD9E-FE49AFFAAFC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6195681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3851" y="1356123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834" y="3787379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1" hasCustomPrompt="1"/>
          </p:nvPr>
        </p:nvSpPr>
        <p:spPr>
          <a:xfrm>
            <a:off x="3276017" y="1356122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3330000" y="3787378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6217110" y="1356122"/>
            <a:ext cx="2591966" cy="2349753"/>
          </a:xfrm>
        </p:spPr>
        <p:txBody>
          <a:bodyPr/>
          <a:lstStyle>
            <a:lvl4pPr>
              <a:defRPr baseline="0"/>
            </a:lvl4pPr>
          </a:lstStyle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6271093" y="3787378"/>
            <a:ext cx="2484000" cy="675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Text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327025" y="250031"/>
            <a:ext cx="8489950" cy="674536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2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smtClean="0"/>
              <a:t>TITLE</a:t>
            </a:r>
          </a:p>
          <a:p>
            <a:pPr lvl="1"/>
            <a:r>
              <a:rPr lang="en-US" noProof="0" smtClean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361356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9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9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oleObject" Target="../embeddings/oleObject19.bin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ags" Target="../tags/tag19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vmlDrawing" Target="../drawings/vmlDrawing19.v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3.pn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oleObject" Target="../embeddings/oleObject26.bin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ags" Target="../tags/tag26.xml"/><Relationship Id="rId2" Type="http://schemas.openxmlformats.org/officeDocument/2006/relationships/slideLayout" Target="../slideLayouts/slideLayout3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vmlDrawing" Target="../drawings/vmlDrawing26.v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18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oleObject" Target="../embeddings/oleObject33.bin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ags" Target="../tags/tag33.xml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vmlDrawing" Target="../drawings/vmlDrawing33.v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23.pn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2415996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4" name="Diapositive think-cell" r:id="rId15" imgW="0" imgH="0" progId="TCLayout.ActiveDocument.1">
                  <p:embed/>
                </p:oleObj>
              </mc:Choice>
              <mc:Fallback>
                <p:oleObj name="Diapositive think-cell" r:id="rId15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14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4636676"/>
            <a:ext cx="7962900" cy="376911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23851" y="250032"/>
            <a:ext cx="8496299" cy="64753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r-FR" noProof="0" smtClean="0"/>
              <a:t>TITRE</a:t>
            </a:r>
            <a:endParaRPr lang="fr-FR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23851" y="1356123"/>
            <a:ext cx="8496299" cy="31753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23850" y="4893469"/>
            <a:ext cx="1079798" cy="250032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fld id="{F663494B-11AD-4044-84CF-2D439E662FE7}" type="datetimeFigureOut">
              <a:rPr lang="nl-NL" smtClean="0"/>
              <a:t>30-6-2017</a:t>
            </a:fld>
            <a:endParaRPr lang="nl-NL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1439652" y="4893469"/>
            <a:ext cx="6804236" cy="250032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243890" y="4893469"/>
            <a:ext cx="576261" cy="250031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BE9DF14E-77A6-43E1-AD9E-FE49AFFAAFCE}" type="slidenum">
              <a:rPr lang="nl-NL" smtClean="0"/>
              <a:t>‹nr.›</a:t>
            </a:fld>
            <a:endParaRPr lang="nl-NL"/>
          </a:p>
        </p:txBody>
      </p:sp>
      <p:sp>
        <p:nvSpPr>
          <p:cNvPr id="11" name="Rectangle à coins arrondis 10"/>
          <p:cNvSpPr/>
          <p:nvPr/>
        </p:nvSpPr>
        <p:spPr>
          <a:xfrm>
            <a:off x="327025" y="231418"/>
            <a:ext cx="324000" cy="27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à coins arrondis 11"/>
          <p:cNvSpPr/>
          <p:nvPr/>
        </p:nvSpPr>
        <p:spPr>
          <a:xfrm>
            <a:off x="327025" y="883284"/>
            <a:ext cx="324000" cy="27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7" name="Picture 2" descr="L:\1516904_Atlantic_ Deploiement_280515\Publishing\Charte\LOGO-BLOC MARQUE\LOGO\Engie_Logo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7755160" y="4448760"/>
            <a:ext cx="1211040" cy="60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2" r:id="rId8"/>
    <p:sldLayoutId id="2147483673" r:id="rId9"/>
    <p:sldLayoutId id="2147483676" r:id="rId10"/>
    <p:sldLayoutId id="2147483661" r:id="rId11"/>
  </p:sldLayoutIdLst>
  <p:transition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Pct val="80000"/>
        <a:buFont typeface="Wingdings" panose="05000000000000000000" pitchFamily="2" charset="2"/>
        <a:buChar char="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—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itchFamily="34" charset="0"/>
        <a:buChar char="—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972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1088070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96" name="Diapositive think-cell" r:id="rId16" imgW="0" imgH="0" progId="TCLayout.ActiveDocument.1">
                  <p:embed/>
                </p:oleObj>
              </mc:Choice>
              <mc:Fallback>
                <p:oleObj name="Diapositive think-cell" r:id="rId16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14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4636676"/>
            <a:ext cx="7962900" cy="376911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23851" y="250032"/>
            <a:ext cx="8496299" cy="64753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r-FR" noProof="0" smtClean="0"/>
              <a:t>TITRE</a:t>
            </a:r>
            <a:endParaRPr lang="fr-FR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23851" y="1356123"/>
            <a:ext cx="8496299" cy="31753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23850" y="4893469"/>
            <a:ext cx="1079798" cy="250032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1439652" y="4893469"/>
            <a:ext cx="6804236" cy="250032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243890" y="4893469"/>
            <a:ext cx="576261" cy="250031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1" name="Rectangle à coins arrondis 10"/>
          <p:cNvSpPr/>
          <p:nvPr/>
        </p:nvSpPr>
        <p:spPr>
          <a:xfrm>
            <a:off x="327025" y="231418"/>
            <a:ext cx="324000" cy="27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à coins arrondis 11"/>
          <p:cNvSpPr/>
          <p:nvPr/>
        </p:nvSpPr>
        <p:spPr>
          <a:xfrm>
            <a:off x="327025" y="883284"/>
            <a:ext cx="324000" cy="27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7" name="Picture 2" descr="L:\1516904_Atlantic_ Deploiement_280515\Publishing\Charte\LOGO-BLOC MARQUE\LOGO\Engie_Logo.pn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7755160" y="4448760"/>
            <a:ext cx="1211040" cy="60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349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ransition/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Pct val="80000"/>
        <a:buFont typeface="Wingdings" panose="05000000000000000000" pitchFamily="2" charset="2"/>
        <a:buChar char="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—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itchFamily="34" charset="0"/>
        <a:buChar char="—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972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90482355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36" name="Diapositive think-cell" r:id="rId13" imgW="0" imgH="0" progId="TCLayout.ActiveDocument.1">
                  <p:embed/>
                </p:oleObj>
              </mc:Choice>
              <mc:Fallback>
                <p:oleObj name="Diapositive think-cell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4637159"/>
            <a:ext cx="7962900" cy="376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2" descr="L:\1516904_Atlantic_ Deploiement_280515\Publishing\Charte\LOGO-BLOC MARQUE\LOGO\Engie_Logo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7755160" y="4448760"/>
            <a:ext cx="1211040" cy="60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23851" y="250032"/>
            <a:ext cx="8496299" cy="64753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r-FR" noProof="0" smtClean="0"/>
              <a:t>TITLE</a:t>
            </a:r>
            <a:endParaRPr lang="fr-FR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23851" y="1356123"/>
            <a:ext cx="8496299" cy="31753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23850" y="4893469"/>
            <a:ext cx="1079798" cy="250032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1439652" y="4893469"/>
            <a:ext cx="6804236" cy="250032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243890" y="4893469"/>
            <a:ext cx="576261" cy="250031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2" name="Rectangle à coins arrondis 11"/>
          <p:cNvSpPr/>
          <p:nvPr/>
        </p:nvSpPr>
        <p:spPr>
          <a:xfrm>
            <a:off x="327025" y="231418"/>
            <a:ext cx="324000" cy="27000"/>
          </a:xfrm>
          <a:prstGeom prst="roundRect">
            <a:avLst>
              <a:gd name="adj" fmla="val 50000"/>
            </a:avLst>
          </a:prstGeom>
          <a:solidFill>
            <a:srgbClr val="96BE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à coins arrondis 12"/>
          <p:cNvSpPr/>
          <p:nvPr/>
        </p:nvSpPr>
        <p:spPr>
          <a:xfrm>
            <a:off x="327025" y="883284"/>
            <a:ext cx="324000" cy="27000"/>
          </a:xfrm>
          <a:prstGeom prst="roundRect">
            <a:avLst>
              <a:gd name="adj" fmla="val 50000"/>
            </a:avLst>
          </a:prstGeom>
          <a:solidFill>
            <a:srgbClr val="96BE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3030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</p:sldLayoutIdLst>
  <p:transition/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rgbClr val="96BE0F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Pct val="80000"/>
        <a:buFont typeface="Wingdings" panose="05000000000000000000" pitchFamily="2" charset="2"/>
        <a:buChar char="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—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itchFamily="34" charset="0"/>
        <a:buChar char="—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972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1485663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04" name="Diapositive think-cell" r:id="rId13" imgW="0" imgH="0" progId="TCLayout.ActiveDocument.1">
                  <p:embed/>
                </p:oleObj>
              </mc:Choice>
              <mc:Fallback>
                <p:oleObj name="Diapositive think-cell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 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1" y="4637159"/>
            <a:ext cx="7962900" cy="376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2" descr="L:\1516904_Atlantic_ Deploiement_280515\Publishing\Charte\LOGO-BLOC MARQUE\LOGO\Engie_Logo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7755160" y="4448760"/>
            <a:ext cx="1211040" cy="60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23851" y="250032"/>
            <a:ext cx="8496299" cy="64753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r-FR" noProof="0" smtClean="0"/>
              <a:t>TITLE</a:t>
            </a:r>
            <a:endParaRPr lang="fr-FR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23851" y="1356123"/>
            <a:ext cx="8496299" cy="31753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23850" y="4893469"/>
            <a:ext cx="1079798" cy="250032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1439652" y="4893469"/>
            <a:ext cx="6804236" cy="250032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243890" y="4893469"/>
            <a:ext cx="576261" cy="250031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2" name="Rectangle à coins arrondis 11"/>
          <p:cNvSpPr/>
          <p:nvPr/>
        </p:nvSpPr>
        <p:spPr>
          <a:xfrm>
            <a:off x="327025" y="231418"/>
            <a:ext cx="324000" cy="27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à coins arrondis 12"/>
          <p:cNvSpPr/>
          <p:nvPr/>
        </p:nvSpPr>
        <p:spPr>
          <a:xfrm>
            <a:off x="327025" y="883284"/>
            <a:ext cx="324000" cy="27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012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</p:sldLayoutIdLst>
  <p:transition/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Pct val="80000"/>
        <a:buFont typeface="Wingdings" panose="05000000000000000000" pitchFamily="2" charset="2"/>
        <a:buChar char="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—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itchFamily="34" charset="0"/>
        <a:buChar char="—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972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7680290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72" name="Diapositive think-cell" r:id="rId13" imgW="0" imgH="0" progId="TCLayout.ActiveDocument.1">
                  <p:embed/>
                </p:oleObj>
              </mc:Choice>
              <mc:Fallback>
                <p:oleObj name="Diapositive think-cell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 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1" y="4637159"/>
            <a:ext cx="7962900" cy="37642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23851" y="250032"/>
            <a:ext cx="8496299" cy="64753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r-FR" noProof="0" smtClean="0"/>
              <a:t>TITLE</a:t>
            </a:r>
            <a:endParaRPr lang="fr-FR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23851" y="1356123"/>
            <a:ext cx="8496299" cy="31753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23850" y="4893469"/>
            <a:ext cx="1079798" cy="250032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 smtClean="0"/>
              <a:t>00/00/2015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1439652" y="4893469"/>
            <a:ext cx="6804236" cy="250032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noProof="0" smtClean="0"/>
              <a:t>PRESENTATION TITLE ( FOOTER CAN BE PERSONALIZED AS FOLLOW: INSERT / HEADER AND FOOTER")</a:t>
            </a:r>
            <a:endParaRPr lang="en-US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243890" y="4893469"/>
            <a:ext cx="576261" cy="250031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t>‹nr.›</a:t>
            </a:fld>
            <a:endParaRPr lang="fr-FR"/>
          </a:p>
        </p:txBody>
      </p:sp>
      <p:sp>
        <p:nvSpPr>
          <p:cNvPr id="12" name="Rectangle à coins arrondis 11"/>
          <p:cNvSpPr/>
          <p:nvPr/>
        </p:nvSpPr>
        <p:spPr>
          <a:xfrm>
            <a:off x="327025" y="231418"/>
            <a:ext cx="324000" cy="27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à coins arrondis 12"/>
          <p:cNvSpPr/>
          <p:nvPr/>
        </p:nvSpPr>
        <p:spPr>
          <a:xfrm>
            <a:off x="327025" y="883284"/>
            <a:ext cx="324000" cy="27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8" name="Picture 2" descr="L:\1516904_Atlantic_ Deploiement_280515\Publishing\Charte\LOGO-BLOC MARQUE\LOGO\Engie_Logo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7755160" y="4448760"/>
            <a:ext cx="1211040" cy="60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2528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</p:sldLayoutIdLst>
  <p:transition/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Pct val="80000"/>
        <a:buFont typeface="Wingdings" panose="05000000000000000000" pitchFamily="2" charset="2"/>
        <a:buChar char="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—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itchFamily="34" charset="0"/>
        <a:buChar char="—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972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Tx/>
        <a:buFont typeface="Arial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www.zonmw.nl/nl/onderzoek-resultaten/ouderen/programmas/project-detail/active-and-assisted-living-aal2/mylifemyway/verslagen/" TargetMode="Externa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tekst 1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l-NL" dirty="0" err="1" smtClean="0"/>
              <a:t>MyLifeMyWay</a:t>
            </a:r>
            <a:endParaRPr lang="nl-NL" dirty="0"/>
          </a:p>
        </p:txBody>
      </p:sp>
      <p:sp>
        <p:nvSpPr>
          <p:cNvPr id="15" name="Tijdelijke aanduiding voor tekst 14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nl-NL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477" y="2544679"/>
            <a:ext cx="1489248" cy="367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ubtitle 2"/>
          <p:cNvSpPr txBox="1">
            <a:spLocks/>
          </p:cNvSpPr>
          <p:nvPr/>
        </p:nvSpPr>
        <p:spPr>
          <a:xfrm>
            <a:off x="6514725" y="2205709"/>
            <a:ext cx="2736303" cy="93610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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44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Tx/>
              <a:buFont typeface="Arial" pitchFamily="34" charset="0"/>
              <a:buChar char="—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2000" indent="-144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Tx/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nl-NL" sz="1600" b="1" dirty="0" smtClean="0">
                <a:solidFill>
                  <a:schemeClr val="bg1"/>
                </a:solidFill>
              </a:rPr>
              <a:t>Arzu </a:t>
            </a:r>
            <a:r>
              <a:rPr lang="en-US" altLang="nl-NL" sz="1600" b="1" dirty="0" err="1" smtClean="0">
                <a:solidFill>
                  <a:schemeClr val="bg1"/>
                </a:solidFill>
              </a:rPr>
              <a:t>Barské</a:t>
            </a:r>
            <a:endParaRPr lang="en-US" altLang="nl-NL" sz="1600" b="1" dirty="0" smtClean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altLang="nl-NL" sz="1600" b="1" dirty="0" smtClean="0">
                <a:solidFill>
                  <a:schemeClr val="bg1"/>
                </a:solidFill>
              </a:rPr>
              <a:t>Product Manager </a:t>
            </a:r>
          </a:p>
          <a:p>
            <a:pPr marL="0" indent="0">
              <a:buNone/>
            </a:pPr>
            <a:r>
              <a:rPr lang="en-US" altLang="nl-NL" sz="1200" b="1" dirty="0" smtClean="0">
                <a:solidFill>
                  <a:schemeClr val="bg1"/>
                </a:solidFill>
              </a:rPr>
              <a:t>M +31 6 133 943 61</a:t>
            </a:r>
          </a:p>
          <a:p>
            <a:pPr marL="0" indent="0">
              <a:buNone/>
            </a:pPr>
            <a:r>
              <a:rPr lang="en-US" altLang="nl-NL" sz="1200" b="1" dirty="0">
                <a:solidFill>
                  <a:schemeClr val="bg1"/>
                </a:solidFill>
              </a:rPr>
              <a:t>a</a:t>
            </a:r>
            <a:r>
              <a:rPr lang="en-US" altLang="nl-NL" sz="1200" b="1" dirty="0" smtClean="0">
                <a:solidFill>
                  <a:schemeClr val="bg1"/>
                </a:solidFill>
              </a:rPr>
              <a:t>rzu.barske@engie.com</a:t>
            </a: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1" y="25522"/>
            <a:ext cx="4347035" cy="3931893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3" y="3984466"/>
            <a:ext cx="9135054" cy="485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9770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324146" y="267494"/>
            <a:ext cx="8349872" cy="64807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400" dirty="0" smtClean="0"/>
              <a:t>Wat is “</a:t>
            </a:r>
            <a:r>
              <a:rPr lang="nl-NL" sz="2400" dirty="0" err="1" smtClean="0"/>
              <a:t>MyLifeMyWay</a:t>
            </a:r>
            <a:r>
              <a:rPr lang="nl-NL" sz="2400" dirty="0" smtClean="0"/>
              <a:t>”? </a:t>
            </a:r>
          </a:p>
        </p:txBody>
      </p:sp>
      <p:sp>
        <p:nvSpPr>
          <p:cNvPr id="7" name="Tekstvak 6"/>
          <p:cNvSpPr txBox="1"/>
          <p:nvPr/>
        </p:nvSpPr>
        <p:spPr>
          <a:xfrm>
            <a:off x="251520" y="915566"/>
            <a:ext cx="856895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nl-NL" b="1" dirty="0" smtClean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algn="ctr"/>
            <a:endParaRPr lang="nl-NL" sz="16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30536"/>
            <a:ext cx="1237281" cy="305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kstvak 1"/>
          <p:cNvSpPr txBox="1"/>
          <p:nvPr/>
        </p:nvSpPr>
        <p:spPr>
          <a:xfrm>
            <a:off x="230562" y="933824"/>
            <a:ext cx="786982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/>
              <a:t>Project is gebaseerd op een </a:t>
            </a:r>
            <a:r>
              <a:rPr lang="nl-NL" dirty="0"/>
              <a:t>p</a:t>
            </a:r>
            <a:r>
              <a:rPr lang="nl-NL" dirty="0" smtClean="0"/>
              <a:t>ersonal </a:t>
            </a:r>
            <a:r>
              <a:rPr lang="nl-NL" dirty="0"/>
              <a:t>v</a:t>
            </a:r>
            <a:r>
              <a:rPr lang="nl-NL" dirty="0" smtClean="0"/>
              <a:t>irtual assistance(P.V.A) met speech </a:t>
            </a:r>
            <a:r>
              <a:rPr lang="nl-NL" dirty="0" err="1" smtClean="0"/>
              <a:t>recognition</a:t>
            </a:r>
            <a:r>
              <a:rPr lang="nl-NL" dirty="0" smtClean="0"/>
              <a:t> technologie om ouderen in hun dagelijkse te ondersteunen.</a:t>
            </a:r>
          </a:p>
          <a:p>
            <a:r>
              <a:rPr lang="nl-NL" dirty="0" smtClean="0"/>
              <a:t>“Anne” kan voor  je het nieuws lezen, en je laten weten hoe laat je je </a:t>
            </a:r>
            <a:r>
              <a:rPr lang="nl-NL" dirty="0" err="1" smtClean="0"/>
              <a:t>medicinenen</a:t>
            </a:r>
            <a:r>
              <a:rPr lang="nl-NL" dirty="0" smtClean="0"/>
              <a:t> moeten innemen. </a:t>
            </a:r>
          </a:p>
          <a:p>
            <a:r>
              <a:rPr lang="nl-NL" dirty="0" smtClean="0"/>
              <a:t>Maar Anne kan straks nog meer in je huis doen, bv. Lampen voor je aan-uit zetten.</a:t>
            </a:r>
            <a:endParaRPr lang="nl-NL" dirty="0"/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2499741"/>
            <a:ext cx="3507236" cy="1870069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84368" y="35533"/>
            <a:ext cx="1225588" cy="1108545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46" y="4642911"/>
            <a:ext cx="9135054" cy="485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773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324146" y="267494"/>
            <a:ext cx="8349872" cy="64807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400" dirty="0" smtClean="0"/>
              <a:t>Project Informatie en Partners</a:t>
            </a:r>
          </a:p>
        </p:txBody>
      </p:sp>
      <p:sp>
        <p:nvSpPr>
          <p:cNvPr id="7" name="Tekstvak 6"/>
          <p:cNvSpPr txBox="1"/>
          <p:nvPr/>
        </p:nvSpPr>
        <p:spPr>
          <a:xfrm>
            <a:off x="251520" y="915566"/>
            <a:ext cx="856895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nl-NL" b="1" dirty="0" smtClean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algn="ctr"/>
            <a:endParaRPr lang="nl-NL" sz="16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Tekstvak 1"/>
          <p:cNvSpPr txBox="1"/>
          <p:nvPr/>
        </p:nvSpPr>
        <p:spPr>
          <a:xfrm>
            <a:off x="183841" y="875481"/>
            <a:ext cx="7869829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b="1" dirty="0" smtClean="0"/>
              <a:t>Project periode:</a:t>
            </a:r>
            <a:r>
              <a:rPr lang="nl-NL" sz="1400" dirty="0" smtClean="0"/>
              <a:t> 01-03-2016- 01-03-2019</a:t>
            </a:r>
          </a:p>
          <a:p>
            <a:r>
              <a:rPr lang="nl-NL" sz="1400" b="1" dirty="0" smtClean="0"/>
              <a:t>Partner Landen: </a:t>
            </a:r>
            <a:r>
              <a:rPr lang="nl-NL" sz="1400" dirty="0" smtClean="0"/>
              <a:t>Nederland, België, Switzerland</a:t>
            </a:r>
          </a:p>
          <a:p>
            <a:r>
              <a:rPr lang="nl-NL" sz="1400" b="1" dirty="0" smtClean="0"/>
              <a:t>Consortium Partners:</a:t>
            </a:r>
          </a:p>
          <a:p>
            <a:r>
              <a:rPr lang="nl-NL" sz="1400" b="1" dirty="0" smtClean="0"/>
              <a:t>Nederlan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l-NL" sz="1200" dirty="0" smtClean="0"/>
              <a:t>EVIS </a:t>
            </a:r>
            <a:r>
              <a:rPr lang="nl-NL" sz="1200" dirty="0" smtClean="0"/>
              <a:t>(ENGIE Ventures and Integrated Solutions) (Penvoerder – Project Coördinatie – Data Science ontwikkeling - Commercieel Partner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l-NL" sz="1200" dirty="0" smtClean="0"/>
              <a:t>Virtask </a:t>
            </a:r>
            <a:r>
              <a:rPr lang="nl-NL" sz="1200" dirty="0" smtClean="0"/>
              <a:t>(“Anne” Product ontwikkeling – Commercieel Partne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l-NL" sz="1200" dirty="0" smtClean="0"/>
              <a:t>HAN </a:t>
            </a:r>
            <a:r>
              <a:rPr lang="nl-NL" sz="1200" dirty="0" smtClean="0"/>
              <a:t>(Hoge School van Arnhem) – Hoofd Onderzoek begeleide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l-NL" sz="1200" dirty="0" smtClean="0"/>
              <a:t>Gemeente </a:t>
            </a:r>
            <a:r>
              <a:rPr lang="nl-NL" sz="1200" dirty="0" smtClean="0"/>
              <a:t>Deventer (Eind-User organisatie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l-NL" sz="1200" dirty="0" smtClean="0"/>
              <a:t>TMZ (</a:t>
            </a:r>
            <a:r>
              <a:rPr lang="nl-NL" sz="1200" dirty="0" smtClean="0"/>
              <a:t>Trivium Meulenbeltzorg ( Eind-User organisatie</a:t>
            </a:r>
            <a:r>
              <a:rPr lang="nl-NL" sz="1200" dirty="0" smtClean="0"/>
              <a:t>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l-NL" sz="1200" dirty="0" smtClean="0"/>
              <a:t>1900 medewerkers, 1300 vrijwilligers, 6 locaties</a:t>
            </a:r>
            <a:endParaRPr lang="nl-NL" sz="1200" dirty="0" smtClean="0"/>
          </a:p>
          <a:p>
            <a:r>
              <a:rPr lang="nl-NL" sz="1200" b="1" dirty="0" smtClean="0"/>
              <a:t>België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l-NL" sz="1200" dirty="0" smtClean="0"/>
              <a:t>Universiteit </a:t>
            </a:r>
            <a:r>
              <a:rPr lang="nl-NL" sz="1200" dirty="0" smtClean="0"/>
              <a:t>Leuven (Onderzoek partner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l-NL" sz="1200" dirty="0" smtClean="0"/>
              <a:t>Senior </a:t>
            </a:r>
            <a:r>
              <a:rPr lang="nl-NL" sz="1200" dirty="0" smtClean="0"/>
              <a:t>Living Group </a:t>
            </a:r>
            <a:r>
              <a:rPr lang="nl-NL" sz="1200" dirty="0" smtClean="0"/>
              <a:t>(Eind-User organisatie)</a:t>
            </a:r>
            <a:endParaRPr lang="nl-NL" sz="1200" dirty="0"/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nl-NL" sz="1200" dirty="0" smtClean="0"/>
              <a:t>9000 bewoners, 6000 medewerkers, 86 voorzieningen, onderdeel van </a:t>
            </a:r>
            <a:r>
              <a:rPr lang="nl-NL" sz="1200" dirty="0" err="1" smtClean="0"/>
              <a:t>Korian</a:t>
            </a:r>
            <a:r>
              <a:rPr lang="nl-NL" sz="1200" dirty="0" smtClean="0"/>
              <a:t> groep</a:t>
            </a:r>
            <a:endParaRPr lang="nl-NL" sz="1400" dirty="0" smtClean="0"/>
          </a:p>
          <a:p>
            <a:r>
              <a:rPr lang="nl-NL" sz="1400" b="1" dirty="0" smtClean="0"/>
              <a:t>Switzerlan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l-NL" sz="1200" dirty="0" smtClean="0"/>
              <a:t>Universiteit </a:t>
            </a:r>
            <a:r>
              <a:rPr lang="nl-NL" sz="1200" dirty="0" err="1" smtClean="0"/>
              <a:t>Lucerne</a:t>
            </a:r>
            <a:r>
              <a:rPr lang="nl-NL" sz="1200" dirty="0" smtClean="0"/>
              <a:t> - </a:t>
            </a:r>
            <a:r>
              <a:rPr lang="nl-NL" sz="1200" dirty="0" err="1" smtClean="0"/>
              <a:t>iHomeLab</a:t>
            </a:r>
            <a:r>
              <a:rPr lang="nl-NL" sz="1200" dirty="0" smtClean="0"/>
              <a:t> </a:t>
            </a:r>
            <a:r>
              <a:rPr lang="nl-NL" sz="1200" dirty="0" smtClean="0"/>
              <a:t>(Onderzoek partner en Data Science ontwikkeling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l-NL" sz="1200" dirty="0" err="1" smtClean="0"/>
              <a:t>BonaCasa</a:t>
            </a:r>
            <a:r>
              <a:rPr lang="nl-NL" sz="1200" dirty="0" smtClean="0"/>
              <a:t> </a:t>
            </a:r>
            <a:r>
              <a:rPr lang="nl-NL" sz="1200" dirty="0" smtClean="0"/>
              <a:t>(Eind-User </a:t>
            </a:r>
            <a:r>
              <a:rPr lang="nl-NL" sz="1200" dirty="0" smtClean="0"/>
              <a:t>organisatie, onderdeel van </a:t>
            </a:r>
            <a:r>
              <a:rPr lang="nl-NL" sz="1200" dirty="0" err="1" smtClean="0"/>
              <a:t>BonaInvest</a:t>
            </a:r>
            <a:r>
              <a:rPr lang="nl-NL" sz="1200" dirty="0" smtClean="0"/>
              <a:t> </a:t>
            </a:r>
            <a:r>
              <a:rPr lang="nl-NL" sz="1200" dirty="0" err="1" smtClean="0"/>
              <a:t>group</a:t>
            </a:r>
            <a:r>
              <a:rPr lang="nl-NL" sz="1200" dirty="0" smtClean="0"/>
              <a:t>)</a:t>
            </a:r>
            <a:endParaRPr lang="nl-NL" sz="1400" dirty="0"/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4830" y="35533"/>
            <a:ext cx="1355126" cy="1225712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6" y="4642911"/>
            <a:ext cx="9135054" cy="485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905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324146" y="267494"/>
            <a:ext cx="8349872" cy="64807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400" dirty="0" smtClean="0"/>
              <a:t>Het Eind-User profiel</a:t>
            </a:r>
            <a:endParaRPr lang="nl-NL" sz="2400" dirty="0" smtClean="0"/>
          </a:p>
        </p:txBody>
      </p:sp>
      <p:sp>
        <p:nvSpPr>
          <p:cNvPr id="7" name="Tekstvak 6"/>
          <p:cNvSpPr txBox="1"/>
          <p:nvPr/>
        </p:nvSpPr>
        <p:spPr>
          <a:xfrm>
            <a:off x="251520" y="915566"/>
            <a:ext cx="856895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nl-NL" b="1" dirty="0" smtClean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algn="ctr"/>
            <a:endParaRPr lang="nl-NL" sz="16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Tekstvak 1"/>
          <p:cNvSpPr txBox="1"/>
          <p:nvPr/>
        </p:nvSpPr>
        <p:spPr>
          <a:xfrm>
            <a:off x="183841" y="875481"/>
            <a:ext cx="7869829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NL" sz="1400" dirty="0"/>
          </a:p>
          <a:p>
            <a:pPr lvl="0"/>
            <a:r>
              <a:rPr lang="nl-NL" sz="1400" dirty="0"/>
              <a:t>Leeftijd ongeveer 65-75 jaar (met ondergrens 60 en bovengrens 80 </a:t>
            </a:r>
            <a:r>
              <a:rPr lang="nl-NL" sz="1400" dirty="0" smtClean="0"/>
              <a:t>jaar)</a:t>
            </a:r>
            <a:endParaRPr lang="nl-NL" sz="1400" dirty="0"/>
          </a:p>
          <a:p>
            <a:pPr lvl="0"/>
            <a:r>
              <a:rPr lang="nl-NL" sz="1400" dirty="0"/>
              <a:t>Thuiswonend of in een serviceflat/aanleunwoning</a:t>
            </a:r>
          </a:p>
          <a:p>
            <a:pPr lvl="0"/>
            <a:r>
              <a:rPr lang="nl-NL" sz="1400" dirty="0"/>
              <a:t>Samenwonend of alleen wonend</a:t>
            </a:r>
          </a:p>
          <a:p>
            <a:pPr lvl="0"/>
            <a:r>
              <a:rPr lang="nl-NL" sz="1400" dirty="0"/>
              <a:t>Geen/weinig cognitieve beperkingen</a:t>
            </a:r>
          </a:p>
          <a:p>
            <a:pPr lvl="0"/>
            <a:r>
              <a:rPr lang="nl-NL" sz="1400" dirty="0"/>
              <a:t>Lichte/matige gezondheidsbeperkingen</a:t>
            </a:r>
          </a:p>
          <a:p>
            <a:pPr lvl="0"/>
            <a:r>
              <a:rPr lang="nl-NL" sz="1400" dirty="0"/>
              <a:t>Geen/weinig professionele verpleegkundige zorg (wel huishoudelijke zorg)</a:t>
            </a:r>
          </a:p>
          <a:p>
            <a:pPr lvl="0"/>
            <a:r>
              <a:rPr lang="nl-NL" sz="1400" dirty="0"/>
              <a:t>Voldoende beheersing van de Nederlandse taal </a:t>
            </a:r>
          </a:p>
          <a:p>
            <a:pPr lvl="0"/>
            <a:r>
              <a:rPr lang="nl-NL" sz="1400" dirty="0"/>
              <a:t>Goed kunnen articuleren</a:t>
            </a:r>
          </a:p>
          <a:p>
            <a:pPr lvl="0"/>
            <a:r>
              <a:rPr lang="nl-NL" sz="1400" dirty="0"/>
              <a:t>Bereidheid om gebruik te maken van tablet</a:t>
            </a:r>
          </a:p>
          <a:p>
            <a:r>
              <a:rPr lang="nl-NL" sz="1400" dirty="0"/>
              <a:t> </a:t>
            </a:r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4830" y="35533"/>
            <a:ext cx="1355126" cy="1225712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6" y="4642911"/>
            <a:ext cx="9135054" cy="485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406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324146" y="267494"/>
            <a:ext cx="8349872" cy="64807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400" dirty="0" smtClean="0"/>
              <a:t>Hoe loopt het Project? </a:t>
            </a:r>
          </a:p>
        </p:txBody>
      </p:sp>
      <p:sp>
        <p:nvSpPr>
          <p:cNvPr id="7" name="Tekstvak 6"/>
          <p:cNvSpPr txBox="1"/>
          <p:nvPr/>
        </p:nvSpPr>
        <p:spPr>
          <a:xfrm>
            <a:off x="251520" y="915566"/>
            <a:ext cx="856895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nl-NL" b="1" dirty="0" smtClean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algn="ctr"/>
            <a:endParaRPr lang="nl-NL" sz="16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Tekstvak 1"/>
          <p:cNvSpPr txBox="1"/>
          <p:nvPr/>
        </p:nvSpPr>
        <p:spPr>
          <a:xfrm>
            <a:off x="252578" y="915566"/>
            <a:ext cx="7869829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/>
              <a:t>3 </a:t>
            </a:r>
            <a:r>
              <a:rPr lang="nl-NL" dirty="0" err="1" smtClean="0"/>
              <a:t>Fase’s</a:t>
            </a:r>
            <a:endParaRPr lang="nl-NL" dirty="0" smtClean="0"/>
          </a:p>
          <a:p>
            <a:r>
              <a:rPr lang="nl-NL" sz="1400" dirty="0" smtClean="0"/>
              <a:t>6 Werkpackages, 24-26 project team betrokkenen, 2 wekelijks structureel stakeholders meeting. </a:t>
            </a:r>
          </a:p>
          <a:p>
            <a:r>
              <a:rPr lang="nl-NL" sz="1400" dirty="0" smtClean="0"/>
              <a:t>2 offline Stakeholders meeting (Nederland en </a:t>
            </a:r>
            <a:r>
              <a:rPr lang="nl-NL" sz="1400" dirty="0" err="1" smtClean="0"/>
              <a:t>Belgie</a:t>
            </a:r>
            <a:r>
              <a:rPr lang="nl-NL" sz="1400" dirty="0" smtClean="0"/>
              <a:t>)</a:t>
            </a:r>
            <a:endParaRPr lang="nl-NL" dirty="0" smtClean="0"/>
          </a:p>
          <a:p>
            <a:r>
              <a:rPr lang="nl-NL" b="1" dirty="0" smtClean="0"/>
              <a:t>Fase I</a:t>
            </a:r>
            <a:r>
              <a:rPr lang="nl-NL" dirty="0" smtClean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 smtClean="0"/>
              <a:t>Zero me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 smtClean="0"/>
              <a:t>Uitrollen </a:t>
            </a:r>
            <a:r>
              <a:rPr lang="nl-NL" sz="1400" dirty="0" smtClean="0"/>
              <a:t>de basis P.V.A. “Anne” bij eind </a:t>
            </a:r>
            <a:r>
              <a:rPr lang="nl-NL" sz="1400" dirty="0" smtClean="0"/>
              <a:t>users (Microsoft Surface)</a:t>
            </a:r>
            <a:endParaRPr lang="nl-NL" sz="14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 smtClean="0"/>
              <a:t>Interviews, verzamelen de wensen en verbeteringen</a:t>
            </a:r>
            <a:endParaRPr lang="nl-NL" dirty="0" smtClean="0"/>
          </a:p>
          <a:p>
            <a:r>
              <a:rPr lang="nl-NL" b="1" dirty="0" smtClean="0"/>
              <a:t>Fase II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 smtClean="0"/>
              <a:t>Ontwikkelen </a:t>
            </a:r>
            <a:r>
              <a:rPr lang="nl-NL" sz="1400" dirty="0"/>
              <a:t>nieuwe features (uitgangspunt wense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/>
              <a:t>Uitrollen nieuw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 err="1" smtClean="0"/>
              <a:t>Domotica</a:t>
            </a:r>
            <a:r>
              <a:rPr lang="nl-NL" sz="1400" dirty="0" smtClean="0"/>
              <a:t> ontwikkeling, </a:t>
            </a:r>
            <a:r>
              <a:rPr lang="nl-NL" sz="1400" dirty="0"/>
              <a:t>Data </a:t>
            </a:r>
            <a:r>
              <a:rPr lang="nl-NL" sz="1400" dirty="0" err="1"/>
              <a:t>Science</a:t>
            </a:r>
            <a:endParaRPr lang="nl-NL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 err="1"/>
              <a:t>Commerciel</a:t>
            </a:r>
            <a:r>
              <a:rPr lang="nl-NL" sz="1400" dirty="0"/>
              <a:t> product business model</a:t>
            </a:r>
            <a:endParaRPr lang="nl-NL" dirty="0" smtClean="0"/>
          </a:p>
          <a:p>
            <a:r>
              <a:rPr lang="nl-NL" b="1" dirty="0" smtClean="0"/>
              <a:t>Fase III</a:t>
            </a:r>
            <a:endParaRPr lang="nl-NL" b="1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 smtClean="0"/>
              <a:t>Ontwikkelen nieuwe features (uitgangspunt wense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 smtClean="0"/>
              <a:t>Uitrollen nieuw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 err="1" smtClean="0"/>
              <a:t>Anytime</a:t>
            </a:r>
            <a:r>
              <a:rPr lang="nl-NL" sz="1400" dirty="0" smtClean="0"/>
              <a:t> </a:t>
            </a:r>
            <a:r>
              <a:rPr lang="nl-NL" sz="1400" dirty="0" err="1" smtClean="0"/>
              <a:t>anywhere</a:t>
            </a:r>
            <a:r>
              <a:rPr lang="nl-NL" sz="1400" dirty="0" smtClean="0"/>
              <a:t> feature  (IOS ontwikkeling)</a:t>
            </a:r>
            <a:endParaRPr lang="nl-NL" sz="14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 err="1"/>
              <a:t>C</a:t>
            </a:r>
            <a:r>
              <a:rPr lang="nl-NL" sz="1400" dirty="0" err="1" smtClean="0"/>
              <a:t>ommerciel</a:t>
            </a:r>
            <a:r>
              <a:rPr lang="nl-NL" sz="1400" dirty="0" smtClean="0"/>
              <a:t> product ontwikkeling</a:t>
            </a:r>
            <a:endParaRPr lang="nl-NL" dirty="0"/>
          </a:p>
          <a:p>
            <a:pPr lvl="1"/>
            <a:endParaRPr lang="nl-NL" dirty="0" smtClean="0"/>
          </a:p>
          <a:p>
            <a:pPr marL="742950" lvl="1" indent="-285750">
              <a:buFontTx/>
              <a:buChar char="-"/>
            </a:pPr>
            <a:endParaRPr lang="nl-NL" dirty="0" smtClean="0"/>
          </a:p>
          <a:p>
            <a:pPr marL="1200150" lvl="2" indent="-285750">
              <a:buFontTx/>
              <a:buChar char="-"/>
            </a:pPr>
            <a:endParaRPr lang="nl-NL" dirty="0" smtClean="0"/>
          </a:p>
          <a:p>
            <a:pPr marL="742950" lvl="1" indent="-285750">
              <a:buFontTx/>
              <a:buChar char="-"/>
            </a:pPr>
            <a:endParaRPr lang="nl-NL" dirty="0" smtClean="0"/>
          </a:p>
          <a:p>
            <a:endParaRPr lang="nl-NL" dirty="0" smtClean="0"/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4830" y="35533"/>
            <a:ext cx="1355126" cy="1225712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6" y="4642911"/>
            <a:ext cx="9135054" cy="485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135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324146" y="267494"/>
            <a:ext cx="8349872" cy="64807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400" dirty="0" smtClean="0"/>
              <a:t>Meer Informatie?</a:t>
            </a:r>
            <a:endParaRPr lang="nl-NL" sz="2400" dirty="0" smtClean="0"/>
          </a:p>
        </p:txBody>
      </p:sp>
      <p:sp>
        <p:nvSpPr>
          <p:cNvPr id="7" name="Tekstvak 6"/>
          <p:cNvSpPr txBox="1"/>
          <p:nvPr/>
        </p:nvSpPr>
        <p:spPr>
          <a:xfrm>
            <a:off x="251520" y="915566"/>
            <a:ext cx="856895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nl-NL" b="1" dirty="0" smtClean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algn="ctr"/>
            <a:endParaRPr lang="nl-NL" sz="16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Tekstvak 1"/>
          <p:cNvSpPr txBox="1"/>
          <p:nvPr/>
        </p:nvSpPr>
        <p:spPr>
          <a:xfrm>
            <a:off x="252578" y="915566"/>
            <a:ext cx="786982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hlinkClick r:id="rId2"/>
              </a:rPr>
              <a:t>http://www.mylifemyway-aal.eu</a:t>
            </a:r>
          </a:p>
          <a:p>
            <a:endParaRPr lang="nl-NL" dirty="0" smtClean="0">
              <a:hlinkClick r:id="rId2"/>
            </a:endParaRP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www.aal-europe.eu/projects/mylifemyway-2</a:t>
            </a:r>
            <a:r>
              <a:rPr lang="nl-NL" dirty="0" smtClean="0">
                <a:hlinkClick r:id="rId2"/>
              </a:rPr>
              <a:t>/</a:t>
            </a:r>
          </a:p>
          <a:p>
            <a:endParaRPr lang="nl-NL" dirty="0" smtClean="0">
              <a:hlinkClick r:id="rId2"/>
            </a:endParaRPr>
          </a:p>
          <a:p>
            <a:r>
              <a:rPr lang="nl-NL" dirty="0" smtClean="0">
                <a:hlinkClick r:id="rId2"/>
              </a:rPr>
              <a:t>https</a:t>
            </a:r>
            <a:r>
              <a:rPr lang="nl-NL" dirty="0">
                <a:hlinkClick r:id="rId2"/>
              </a:rPr>
              <a:t>://www.zonmw.nl/nl/onderzoek-resultaten/ouderen/programmas/project-detail/active-and-assisted-living-aal2/mylifemyway/verslagen</a:t>
            </a:r>
            <a:r>
              <a:rPr lang="nl-NL" dirty="0" smtClean="0">
                <a:hlinkClick r:id="rId2"/>
              </a:rPr>
              <a:t>/</a:t>
            </a:r>
            <a:endParaRPr lang="nl-NL" dirty="0" smtClean="0"/>
          </a:p>
          <a:p>
            <a:pPr lvl="1"/>
            <a:endParaRPr lang="nl-NL" dirty="0" smtClean="0"/>
          </a:p>
          <a:p>
            <a:pPr marL="742950" lvl="1" indent="-285750">
              <a:buFontTx/>
              <a:buChar char="-"/>
            </a:pPr>
            <a:endParaRPr lang="nl-NL" dirty="0" smtClean="0"/>
          </a:p>
          <a:p>
            <a:pPr marL="1200150" lvl="2" indent="-285750">
              <a:buFontTx/>
              <a:buChar char="-"/>
            </a:pPr>
            <a:endParaRPr lang="nl-NL" dirty="0" smtClean="0"/>
          </a:p>
          <a:p>
            <a:pPr marL="742950" lvl="1" indent="-285750">
              <a:buFontTx/>
              <a:buChar char="-"/>
            </a:pPr>
            <a:endParaRPr lang="nl-NL" dirty="0" smtClean="0"/>
          </a:p>
          <a:p>
            <a:endParaRPr lang="nl-NL" dirty="0" smtClean="0"/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4830" y="35533"/>
            <a:ext cx="1355126" cy="1225712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46" y="4642911"/>
            <a:ext cx="9135054" cy="485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823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oadmap">
  <a:themeElements>
    <a:clrScheme name="ENGIE">
      <a:dk1>
        <a:srgbClr val="424242"/>
      </a:dk1>
      <a:lt1>
        <a:sysClr val="window" lastClr="FFFFFF"/>
      </a:lt1>
      <a:dk2>
        <a:srgbClr val="000000"/>
      </a:dk2>
      <a:lt2>
        <a:srgbClr val="B1B1B1"/>
      </a:lt2>
      <a:accent1>
        <a:srgbClr val="00AAFF"/>
      </a:accent1>
      <a:accent2>
        <a:srgbClr val="0078BE"/>
      </a:accent2>
      <a:accent3>
        <a:srgbClr val="910F7D"/>
      </a:accent3>
      <a:accent4>
        <a:srgbClr val="F07D00"/>
      </a:accent4>
      <a:accent5>
        <a:srgbClr val="E62D87"/>
      </a:accent5>
      <a:accent6>
        <a:srgbClr val="007873"/>
      </a:accent6>
      <a:hlink>
        <a:srgbClr val="424242"/>
      </a:hlink>
      <a:folHlink>
        <a:srgbClr val="42424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ENGIE_16-9_EN_SANS_BANDEAU">
  <a:themeElements>
    <a:clrScheme name="ENGIE">
      <a:dk1>
        <a:srgbClr val="424242"/>
      </a:dk1>
      <a:lt1>
        <a:sysClr val="window" lastClr="FFFFFF"/>
      </a:lt1>
      <a:dk2>
        <a:srgbClr val="000000"/>
      </a:dk2>
      <a:lt2>
        <a:srgbClr val="B1B1B1"/>
      </a:lt2>
      <a:accent1>
        <a:srgbClr val="00AAFF"/>
      </a:accent1>
      <a:accent2>
        <a:srgbClr val="0078BE"/>
      </a:accent2>
      <a:accent3>
        <a:srgbClr val="910F7D"/>
      </a:accent3>
      <a:accent4>
        <a:srgbClr val="F07D00"/>
      </a:accent4>
      <a:accent5>
        <a:srgbClr val="E62D87"/>
      </a:accent5>
      <a:accent6>
        <a:srgbClr val="007873"/>
      </a:accent6>
      <a:hlink>
        <a:srgbClr val="424242"/>
      </a:hlink>
      <a:folHlink>
        <a:srgbClr val="42424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GIE_Vert">
  <a:themeElements>
    <a:clrScheme name="ENGIE">
      <a:dk1>
        <a:srgbClr val="424242"/>
      </a:dk1>
      <a:lt1>
        <a:sysClr val="window" lastClr="FFFFFF"/>
      </a:lt1>
      <a:dk2>
        <a:srgbClr val="000000"/>
      </a:dk2>
      <a:lt2>
        <a:srgbClr val="B1B1B1"/>
      </a:lt2>
      <a:accent1>
        <a:srgbClr val="00AAFF"/>
      </a:accent1>
      <a:accent2>
        <a:srgbClr val="0078BE"/>
      </a:accent2>
      <a:accent3>
        <a:srgbClr val="910F7D"/>
      </a:accent3>
      <a:accent4>
        <a:srgbClr val="F07D00"/>
      </a:accent4>
      <a:accent5>
        <a:srgbClr val="E62D87"/>
      </a:accent5>
      <a:accent6>
        <a:srgbClr val="007873"/>
      </a:accent6>
      <a:hlink>
        <a:srgbClr val="424242"/>
      </a:hlink>
      <a:folHlink>
        <a:srgbClr val="42424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ENGIE_Orange">
  <a:themeElements>
    <a:clrScheme name="ENGIE">
      <a:dk1>
        <a:srgbClr val="424242"/>
      </a:dk1>
      <a:lt1>
        <a:sysClr val="window" lastClr="FFFFFF"/>
      </a:lt1>
      <a:dk2>
        <a:srgbClr val="000000"/>
      </a:dk2>
      <a:lt2>
        <a:srgbClr val="B1B1B1"/>
      </a:lt2>
      <a:accent1>
        <a:srgbClr val="00AAFF"/>
      </a:accent1>
      <a:accent2>
        <a:srgbClr val="0078BE"/>
      </a:accent2>
      <a:accent3>
        <a:srgbClr val="910F7D"/>
      </a:accent3>
      <a:accent4>
        <a:srgbClr val="F07D00"/>
      </a:accent4>
      <a:accent5>
        <a:srgbClr val="E62D87"/>
      </a:accent5>
      <a:accent6>
        <a:srgbClr val="007873"/>
      </a:accent6>
      <a:hlink>
        <a:srgbClr val="424242"/>
      </a:hlink>
      <a:folHlink>
        <a:srgbClr val="42424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ENGIE_Violet">
  <a:themeElements>
    <a:clrScheme name="ENGIE">
      <a:dk1>
        <a:srgbClr val="424242"/>
      </a:dk1>
      <a:lt1>
        <a:sysClr val="window" lastClr="FFFFFF"/>
      </a:lt1>
      <a:dk2>
        <a:srgbClr val="000000"/>
      </a:dk2>
      <a:lt2>
        <a:srgbClr val="B1B1B1"/>
      </a:lt2>
      <a:accent1>
        <a:srgbClr val="00AAFF"/>
      </a:accent1>
      <a:accent2>
        <a:srgbClr val="0078BE"/>
      </a:accent2>
      <a:accent3>
        <a:srgbClr val="910F7D"/>
      </a:accent3>
      <a:accent4>
        <a:srgbClr val="F07D00"/>
      </a:accent4>
      <a:accent5>
        <a:srgbClr val="E62D87"/>
      </a:accent5>
      <a:accent6>
        <a:srgbClr val="007873"/>
      </a:accent6>
      <a:hlink>
        <a:srgbClr val="424242"/>
      </a:hlink>
      <a:folHlink>
        <a:srgbClr val="42424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18E0488F4D7A4F83AE6C9161CF7FEF" ma:contentTypeVersion="0" ma:contentTypeDescription="Een nieuw document maken." ma:contentTypeScope="" ma:versionID="bcae0088599c5dfc5004abed35334632">
  <xsd:schema xmlns:xsd="http://www.w3.org/2001/XMLSchema" xmlns:p="http://schemas.microsoft.com/office/2006/metadata/properties" targetNamespace="http://schemas.microsoft.com/office/2006/metadata/properties" ma:root="true" ma:fieldsID="b118b0825d757084c8d1e1ffd33f200c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 ma:readOnly="tru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61A57ACF-ACB7-41AF-81EC-1676B03F5BCE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B850544-9E65-4EE9-84EB-364E4DD3B65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C3F197-A8FD-4ED4-AF6E-4C7B7A4196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oadmap</Template>
  <TotalTime>0</TotalTime>
  <Words>380</Words>
  <Application>Microsoft Office PowerPoint</Application>
  <PresentationFormat>Diavoorstelling (16:9)</PresentationFormat>
  <Paragraphs>69</Paragraphs>
  <Slides>6</Slides>
  <Notes>0</Notes>
  <HiddenSlides>1</HiddenSlides>
  <MMClips>0</MMClips>
  <ScaleCrop>false</ScaleCrop>
  <HeadingPairs>
    <vt:vector size="6" baseType="variant">
      <vt:variant>
        <vt:lpstr>Thema</vt:lpstr>
      </vt:variant>
      <vt:variant>
        <vt:i4>5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6</vt:i4>
      </vt:variant>
    </vt:vector>
  </HeadingPairs>
  <TitlesOfParts>
    <vt:vector size="12" baseType="lpstr">
      <vt:lpstr>Roadmap</vt:lpstr>
      <vt:lpstr>1_ENGIE_16-9_EN_SANS_BANDEAU</vt:lpstr>
      <vt:lpstr>ENGIE_Vert</vt:lpstr>
      <vt:lpstr>ENGIE_Orange</vt:lpstr>
      <vt:lpstr>ENGIE_Violet</vt:lpstr>
      <vt:lpstr>Diapositive think-cell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>Cofely Nederland NV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Enserink, Marijke</dc:creator>
  <cp:lastModifiedBy>Arzu Barske</cp:lastModifiedBy>
  <cp:revision>504</cp:revision>
  <cp:lastPrinted>2017-06-27T10:32:06Z</cp:lastPrinted>
  <dcterms:created xsi:type="dcterms:W3CDTF">2016-08-04T13:30:21Z</dcterms:created>
  <dcterms:modified xsi:type="dcterms:W3CDTF">2017-06-30T09:1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18E0488F4D7A4F83AE6C9161CF7FEF</vt:lpwstr>
  </property>
</Properties>
</file>